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4" r:id="rId1"/>
  </p:sldMasterIdLst>
  <p:notesMasterIdLst>
    <p:notesMasterId r:id="rId4"/>
  </p:notesMasterIdLst>
  <p:handoutMasterIdLst>
    <p:handoutMasterId r:id="rId5"/>
  </p:handoutMasterIdLst>
  <p:sldIdLst>
    <p:sldId id="433" r:id="rId2"/>
    <p:sldId id="437" r:id="rId3"/>
  </p:sldIdLst>
  <p:sldSz cx="9902825" cy="6858000"/>
  <p:notesSz cx="6858000" cy="9947275"/>
  <p:custDataLst>
    <p:tags r:id="rId6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pos="3119" userDrawn="1">
          <p15:clr>
            <a:srgbClr val="A4A3A4"/>
          </p15:clr>
        </p15:guide>
        <p15:guide id="2" pos="670" userDrawn="1">
          <p15:clr>
            <a:srgbClr val="A4A3A4"/>
          </p15:clr>
        </p15:guide>
        <p15:guide id="3" pos="5568" userDrawn="1">
          <p15:clr>
            <a:srgbClr val="A4A3A4"/>
          </p15:clr>
        </p15:guide>
        <p15:guide id="4" pos="2439" userDrawn="1">
          <p15:clr>
            <a:srgbClr val="A4A3A4"/>
          </p15:clr>
        </p15:guide>
        <p15:guide id="5" pos="3799" userDrawn="1">
          <p15:clr>
            <a:srgbClr val="A4A3A4"/>
          </p15:clr>
        </p15:guide>
        <p15:guide id="6" pos="216" userDrawn="1">
          <p15:clr>
            <a:srgbClr val="A4A3A4"/>
          </p15:clr>
        </p15:guide>
        <p15:guide id="7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88A8C"/>
    <a:srgbClr val="C0C2C4"/>
    <a:srgbClr val="E2DBED"/>
    <a:srgbClr val="E0F3EB"/>
    <a:srgbClr val="9AD4B9"/>
    <a:srgbClr val="7151A1"/>
    <a:srgbClr val="F0BE32"/>
    <a:srgbClr val="00985F"/>
    <a:srgbClr val="FF0000"/>
    <a:srgbClr val="00AE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974" autoAdjust="0"/>
    <p:restoredTop sz="94131" autoAdjust="0"/>
  </p:normalViewPr>
  <p:slideViewPr>
    <p:cSldViewPr showGuides="1">
      <p:cViewPr>
        <p:scale>
          <a:sx n="61" d="100"/>
          <a:sy n="61" d="100"/>
        </p:scale>
        <p:origin x="-1074" y="0"/>
      </p:cViewPr>
      <p:guideLst>
        <p:guide orient="horz" pos="2160"/>
        <p:guide pos="3119"/>
        <p:guide pos="670"/>
        <p:guide pos="5568"/>
        <p:guide pos="2439"/>
        <p:guide pos="3799"/>
        <p:guide pos="21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8" d="100"/>
          <a:sy n="98" d="100"/>
        </p:scale>
        <p:origin x="2598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9091"/>
          </a:xfrm>
          <a:prstGeom prst="rect">
            <a:avLst/>
          </a:prstGeom>
        </p:spPr>
        <p:txBody>
          <a:bodyPr vert="horz" lIns="91870" tIns="45935" rIns="91870" bIns="4593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4" y="0"/>
            <a:ext cx="2971800" cy="499091"/>
          </a:xfrm>
          <a:prstGeom prst="rect">
            <a:avLst/>
          </a:prstGeom>
        </p:spPr>
        <p:txBody>
          <a:bodyPr vert="horz" lIns="91870" tIns="45935" rIns="91870" bIns="45935" rtlCol="0"/>
          <a:lstStyle>
            <a:lvl1pPr algn="r">
              <a:defRPr sz="1200"/>
            </a:lvl1pPr>
          </a:lstStyle>
          <a:p>
            <a:fld id="{7B24FBC0-B2DF-43F9-BCCA-EE72688FE393}" type="datetimeFigureOut">
              <a:rPr lang="ru-RU" smtClean="0"/>
              <a:t>13.07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8185"/>
            <a:ext cx="2971800" cy="499090"/>
          </a:xfrm>
          <a:prstGeom prst="rect">
            <a:avLst/>
          </a:prstGeom>
        </p:spPr>
        <p:txBody>
          <a:bodyPr vert="horz" lIns="91870" tIns="45935" rIns="91870" bIns="4593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4" y="9448185"/>
            <a:ext cx="2971800" cy="499090"/>
          </a:xfrm>
          <a:prstGeom prst="rect">
            <a:avLst/>
          </a:prstGeom>
        </p:spPr>
        <p:txBody>
          <a:bodyPr vert="horz" lIns="91870" tIns="45935" rIns="91870" bIns="45935" rtlCol="0" anchor="b"/>
          <a:lstStyle>
            <a:lvl1pPr algn="r">
              <a:defRPr sz="1200"/>
            </a:lvl1pPr>
          </a:lstStyle>
          <a:p>
            <a:fld id="{4BC95703-1DF3-4283-8D61-EE01BA4E4DA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0010751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9091"/>
          </a:xfrm>
          <a:prstGeom prst="rect">
            <a:avLst/>
          </a:prstGeom>
        </p:spPr>
        <p:txBody>
          <a:bodyPr vert="horz" lIns="91870" tIns="45935" rIns="91870" bIns="45935" rtlCol="0"/>
          <a:lstStyle>
            <a:lvl1pPr algn="l">
              <a:defRPr sz="1200">
                <a:latin typeface="PF DinDisplay Pro" panose="02000506030000020004" pitchFamily="2" charset="0"/>
                <a:sym typeface="PF DinDisplay Pro" panose="02000506030000020004" pitchFamily="2" charset="0"/>
              </a:defRPr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4" y="0"/>
            <a:ext cx="2971800" cy="499091"/>
          </a:xfrm>
          <a:prstGeom prst="rect">
            <a:avLst/>
          </a:prstGeom>
        </p:spPr>
        <p:txBody>
          <a:bodyPr vert="horz" lIns="91870" tIns="45935" rIns="91870" bIns="45935" rtlCol="0"/>
          <a:lstStyle>
            <a:lvl1pPr algn="r">
              <a:defRPr sz="1200">
                <a:latin typeface="PF DinDisplay Pro" panose="02000506030000020004" pitchFamily="2" charset="0"/>
                <a:sym typeface="PF DinDisplay Pro" panose="02000506030000020004" pitchFamily="2" charset="0"/>
              </a:defRPr>
            </a:lvl1pPr>
          </a:lstStyle>
          <a:p>
            <a:fld id="{A36219D1-EC8F-4891-9D20-E67D908D5C43}" type="datetimeFigureOut">
              <a:rPr lang="ru-RU" smtClean="0"/>
              <a:pPr/>
              <a:t>13.07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006475" y="1244600"/>
            <a:ext cx="4845050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870" tIns="45935" rIns="91870" bIns="45935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1" y="4787126"/>
            <a:ext cx="5486400" cy="3916740"/>
          </a:xfrm>
          <a:prstGeom prst="rect">
            <a:avLst/>
          </a:prstGeom>
        </p:spPr>
        <p:txBody>
          <a:bodyPr vert="horz" lIns="91870" tIns="45935" rIns="91870" bIns="45935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8185"/>
            <a:ext cx="2971800" cy="499090"/>
          </a:xfrm>
          <a:prstGeom prst="rect">
            <a:avLst/>
          </a:prstGeom>
        </p:spPr>
        <p:txBody>
          <a:bodyPr vert="horz" lIns="91870" tIns="45935" rIns="91870" bIns="45935" rtlCol="0" anchor="b"/>
          <a:lstStyle>
            <a:lvl1pPr algn="l">
              <a:defRPr sz="1200">
                <a:latin typeface="PF DinDisplay Pro" panose="02000506030000020004" pitchFamily="2" charset="0"/>
                <a:sym typeface="PF DinDisplay Pro" panose="02000506030000020004" pitchFamily="2" charset="0"/>
              </a:defRPr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4" y="9448185"/>
            <a:ext cx="2971800" cy="499090"/>
          </a:xfrm>
          <a:prstGeom prst="rect">
            <a:avLst/>
          </a:prstGeom>
        </p:spPr>
        <p:txBody>
          <a:bodyPr vert="horz" lIns="91870" tIns="45935" rIns="91870" bIns="45935" rtlCol="0" anchor="b"/>
          <a:lstStyle>
            <a:lvl1pPr algn="r">
              <a:defRPr sz="1200">
                <a:latin typeface="PF DinDisplay Pro" panose="02000506030000020004" pitchFamily="2" charset="0"/>
                <a:sym typeface="PF DinDisplay Pro" panose="02000506030000020004" pitchFamily="2" charset="0"/>
              </a:defRPr>
            </a:lvl1pPr>
          </a:lstStyle>
          <a:p>
            <a:fld id="{53D08E4C-B766-42B3-A196-8BB89E55311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721460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PF DinDisplay Pro" panose="02000506030000020004" pitchFamily="2" charset="0"/>
        <a:ea typeface="+mn-ea"/>
        <a:cs typeface="+mn-cs"/>
        <a:sym typeface="PF DinDisplay Pro" panose="02000506030000020004" pitchFamily="2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PF DinDisplay Pro" panose="02000506030000020004" pitchFamily="2" charset="0"/>
        <a:ea typeface="+mn-ea"/>
        <a:cs typeface="+mn-cs"/>
        <a:sym typeface="PF DinDisplay Pro" panose="02000506030000020004" pitchFamily="2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PF DinDisplay Pro" panose="02000506030000020004" pitchFamily="2" charset="0"/>
        <a:ea typeface="+mn-ea"/>
        <a:cs typeface="+mn-cs"/>
        <a:sym typeface="PF DinDisplay Pro" panose="02000506030000020004" pitchFamily="2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PF DinDisplay Pro" panose="02000506030000020004" pitchFamily="2" charset="0"/>
        <a:ea typeface="+mn-ea"/>
        <a:cs typeface="+mn-cs"/>
        <a:sym typeface="PF DinDisplay Pro" panose="02000506030000020004" pitchFamily="2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PF DinDisplay Pro" panose="02000506030000020004" pitchFamily="2" charset="0"/>
        <a:ea typeface="+mn-ea"/>
        <a:cs typeface="+mn-cs"/>
        <a:sym typeface="PF DinDisplay Pro" panose="02000506030000020004" pitchFamily="2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D08E4C-B766-42B3-A196-8BB89E553116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153710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D08E4C-B766-42B3-A196-8BB89E553116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69050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1572125"/>
              </p:ext>
            </p:extLst>
          </p:nvPr>
        </p:nvGraphicFramePr>
        <p:xfrm>
          <a:off x="1732" y="1610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32" y="1610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/>
          <p:cNvSpPr/>
          <p:nvPr/>
        </p:nvSpPr>
        <p:spPr bwMode="auto">
          <a:xfrm>
            <a:off x="-1340" y="-21682"/>
            <a:ext cx="9904165" cy="685799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PF DinDisplay Pro" panose="02000506030000020004" pitchFamily="2" charset="0"/>
              <a:sym typeface="PF DinDisplay Pro" panose="02000506030000020004" pitchFamily="2" charset="0"/>
            </a:endParaRPr>
          </a:p>
        </p:txBody>
      </p:sp>
      <p:sp>
        <p:nvSpPr>
          <p:cNvPr id="21" name="Rectangle 5"/>
          <p:cNvSpPr/>
          <p:nvPr userDrawn="1"/>
        </p:nvSpPr>
        <p:spPr>
          <a:xfrm>
            <a:off x="1" y="0"/>
            <a:ext cx="9902825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 smtClean="0">
              <a:solidFill>
                <a:prstClr val="white"/>
              </a:solidFill>
              <a:latin typeface="PF DinDisplay Pro" panose="02000506030000020004" pitchFamily="2" charset="0"/>
              <a:sym typeface="PF DinDisplay Pro" panose="02000506030000020004" pitchFamily="2" charset="0"/>
            </a:endParaRPr>
          </a:p>
        </p:txBody>
      </p:sp>
      <p:sp>
        <p:nvSpPr>
          <p:cNvPr id="24" name="Прямоугольник 23"/>
          <p:cNvSpPr/>
          <p:nvPr userDrawn="1"/>
        </p:nvSpPr>
        <p:spPr bwMode="auto">
          <a:xfrm>
            <a:off x="-1" y="1268760"/>
            <a:ext cx="9902825" cy="3600400"/>
          </a:xfrm>
          <a:prstGeom prst="rect">
            <a:avLst/>
          </a:prstGeom>
          <a:solidFill>
            <a:srgbClr val="DEDFE0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0" cap="flat" cmpd="sng" algn="ctr">
                <a:solidFill>
                  <a:srgbClr val="7F7F7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srgbClr val="595959"/>
              </a:solidFill>
              <a:latin typeface="PF DinDisplay Pro" panose="02000506030000020004" pitchFamily="2" charset="0"/>
              <a:sym typeface="PF DinDisplay Pro" panose="02000506030000020004" pitchFamily="2" charset="0"/>
            </a:endParaRPr>
          </a:p>
        </p:txBody>
      </p:sp>
      <p:sp>
        <p:nvSpPr>
          <p:cNvPr id="25" name="Овал 10"/>
          <p:cNvSpPr/>
          <p:nvPr userDrawn="1"/>
        </p:nvSpPr>
        <p:spPr>
          <a:xfrm>
            <a:off x="7925138" y="4001565"/>
            <a:ext cx="1599862" cy="1600375"/>
          </a:xfrm>
          <a:prstGeom prst="ellipse">
            <a:avLst/>
          </a:prstGeom>
          <a:solidFill>
            <a:srgbClr val="00985F"/>
          </a:solidFill>
          <a:ln w="25400" cap="flat" cmpd="sng" algn="ctr">
            <a:noFill/>
            <a:prstDash val="solid"/>
          </a:ln>
          <a:effectLst/>
        </p:spPr>
        <p:txBody>
          <a:bodyPr lIns="107287" tIns="0" rIns="107287" bIns="53643" rtlCol="0" anchor="ctr"/>
          <a:lstStyle/>
          <a:p>
            <a:pPr algn="ctr" defTabSz="1072866">
              <a:defRPr/>
            </a:pPr>
            <a:endParaRPr lang="ru-RU" sz="9400" kern="0" dirty="0" smtClean="0">
              <a:solidFill>
                <a:prstClr val="white"/>
              </a:solidFill>
              <a:latin typeface="PF DinDisplay Pro" panose="02000506030000020004" pitchFamily="2" charset="0"/>
              <a:sym typeface="PF DinDisplay Pro" panose="02000506030000020004" pitchFamily="2" charset="0"/>
            </a:endParaRPr>
          </a:p>
        </p:txBody>
      </p:sp>
      <p:sp>
        <p:nvSpPr>
          <p:cNvPr id="26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925138" y="4005064"/>
            <a:ext cx="1599862" cy="160037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500" b="0">
                <a:solidFill>
                  <a:schemeClr val="bg1"/>
                </a:solidFill>
                <a:latin typeface="PF DinDisplay Pro" panose="02000506030000020004" pitchFamily="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1</a:t>
            </a:r>
            <a:endParaRPr lang="ru-RU" dirty="0" smtClean="0"/>
          </a:p>
        </p:txBody>
      </p:sp>
      <p:sp>
        <p:nvSpPr>
          <p:cNvPr id="13" name="Нижний колонтитул 4"/>
          <p:cNvSpPr>
            <a:spLocks noGrp="1"/>
          </p:cNvSpPr>
          <p:nvPr>
            <p:ph type="ftr" sz="quarter" idx="12"/>
          </p:nvPr>
        </p:nvSpPr>
        <p:spPr>
          <a:xfrm>
            <a:off x="270001" y="6786000"/>
            <a:ext cx="9360000" cy="72000"/>
          </a:xfrm>
        </p:spPr>
        <p:txBody>
          <a:bodyPr vert="horz" wrap="none" lIns="91440" tIns="45720" rIns="91440" bIns="45720" rtlCol="0" anchor="b" anchorCtr="0">
            <a:noAutofit/>
          </a:bodyPr>
          <a:lstStyle>
            <a:lvl1pPr>
              <a:defRPr lang="ru-RU" smtClean="0"/>
            </a:lvl1pPr>
          </a:lstStyle>
          <a:p>
            <a:endParaRPr lang="en-US"/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341778" y="1993898"/>
            <a:ext cx="7488000" cy="21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42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307753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6053243"/>
              </p:ext>
            </p:extLst>
          </p:nvPr>
        </p:nvGraphicFramePr>
        <p:xfrm>
          <a:off x="1732" y="1610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32" y="1610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tangle 5"/>
          <p:cNvSpPr/>
          <p:nvPr userDrawn="1"/>
        </p:nvSpPr>
        <p:spPr>
          <a:xfrm>
            <a:off x="1" y="0"/>
            <a:ext cx="9902825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 smtClean="0">
              <a:solidFill>
                <a:prstClr val="white"/>
              </a:solidFill>
              <a:latin typeface="PF DinDisplay Pro" panose="02000506030000020004" pitchFamily="2" charset="0"/>
              <a:sym typeface="PF DinDisplay Pro" panose="02000506030000020004" pitchFamily="2" charset="0"/>
            </a:endParaRPr>
          </a:p>
        </p:txBody>
      </p:sp>
      <p:sp>
        <p:nvSpPr>
          <p:cNvPr id="11" name="Нижний колонтитул 7"/>
          <p:cNvSpPr>
            <a:spLocks noGrp="1"/>
          </p:cNvSpPr>
          <p:nvPr>
            <p:ph type="ftr" sz="quarter" idx="3"/>
          </p:nvPr>
        </p:nvSpPr>
        <p:spPr>
          <a:xfrm>
            <a:off x="270001" y="6786000"/>
            <a:ext cx="9360000" cy="72000"/>
          </a:xfrm>
          <a:prstGeom prst="rect">
            <a:avLst/>
          </a:prstGeom>
        </p:spPr>
        <p:txBody>
          <a:bodyPr vert="horz" wrap="none" lIns="91440" tIns="45720" rIns="91440" bIns="45720" rtlCol="0" anchor="b" anchorCtr="0">
            <a:noAutofit/>
          </a:bodyPr>
          <a:lstStyle>
            <a:lvl1pPr>
              <a:defRPr lang="ru-RU" smtClean="0"/>
            </a:lvl1pPr>
          </a:lstStyle>
          <a:p>
            <a:endParaRPr lang="en-US"/>
          </a:p>
        </p:txBody>
      </p:sp>
      <p:sp>
        <p:nvSpPr>
          <p:cNvPr id="20" name="Прямоугольник 19"/>
          <p:cNvSpPr/>
          <p:nvPr userDrawn="1"/>
        </p:nvSpPr>
        <p:spPr bwMode="auto">
          <a:xfrm>
            <a:off x="-1" y="0"/>
            <a:ext cx="9902825" cy="1728908"/>
          </a:xfrm>
          <a:prstGeom prst="rect">
            <a:avLst/>
          </a:prstGeom>
          <a:solidFill>
            <a:schemeClr val="bg1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latin typeface="PF DinDisplay Pro" panose="02000506030000020004" pitchFamily="2" charset="0"/>
              <a:sym typeface="PF DinDisplay Pro" panose="02000506030000020004" pitchFamily="2" charset="0"/>
            </a:endParaRPr>
          </a:p>
        </p:txBody>
      </p:sp>
      <p:sp>
        <p:nvSpPr>
          <p:cNvPr id="22" name="Прямоугольник 21"/>
          <p:cNvSpPr/>
          <p:nvPr userDrawn="1"/>
        </p:nvSpPr>
        <p:spPr bwMode="auto">
          <a:xfrm>
            <a:off x="-1" y="1268760"/>
            <a:ext cx="9902825" cy="3600400"/>
          </a:xfrm>
          <a:prstGeom prst="rect">
            <a:avLst/>
          </a:prstGeom>
          <a:solidFill>
            <a:srgbClr val="DEDFE0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0" cap="flat" cmpd="sng" algn="ctr">
                <a:solidFill>
                  <a:srgbClr val="7F7F7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srgbClr val="595959"/>
              </a:solidFill>
              <a:latin typeface="PF DinDisplay Pro" panose="02000506030000020004" pitchFamily="2" charset="0"/>
              <a:sym typeface="PF DinDisplay Pro" panose="02000506030000020004" pitchFamily="2" charset="0"/>
            </a:endParaRPr>
          </a:p>
        </p:txBody>
      </p:sp>
      <p:sp>
        <p:nvSpPr>
          <p:cNvPr id="28" name="Заголовок 1"/>
          <p:cNvSpPr>
            <a:spLocks noGrp="1"/>
          </p:cNvSpPr>
          <p:nvPr>
            <p:ph type="title"/>
          </p:nvPr>
        </p:nvSpPr>
        <p:spPr>
          <a:xfrm>
            <a:off x="341778" y="1993898"/>
            <a:ext cx="7488000" cy="21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42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29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41777" y="4870368"/>
            <a:ext cx="5328000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buFontTx/>
              <a:buNone/>
              <a:defRPr lang="en-US" sz="1400" b="0">
                <a:solidFill>
                  <a:srgbClr val="57068C"/>
                </a:solidFill>
                <a:latin typeface="PF DinDisplay Pro" panose="02000506030000020004" pitchFamily="2" charset="0"/>
                <a:ea typeface="Verdana" panose="020B0604030504040204" pitchFamily="34" charset="0"/>
                <a:cs typeface="Verdana" panose="020B0604030504040204" pitchFamily="34" charset="0"/>
                <a:sym typeface="PF DinDisplay Pro" panose="02000506030000020004" pitchFamily="2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4564" y="569396"/>
            <a:ext cx="1864587" cy="1864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698663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7472513"/>
              </p:ext>
            </p:extLst>
          </p:nvPr>
        </p:nvGraphicFramePr>
        <p:xfrm>
          <a:off x="1732" y="1610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3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32" y="1610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Нижний колонтитул 7"/>
          <p:cNvSpPr>
            <a:spLocks noGrp="1"/>
          </p:cNvSpPr>
          <p:nvPr>
            <p:ph type="ftr" sz="quarter" idx="3"/>
          </p:nvPr>
        </p:nvSpPr>
        <p:spPr>
          <a:xfrm>
            <a:off x="270001" y="6786000"/>
            <a:ext cx="9360000" cy="72000"/>
          </a:xfrm>
          <a:prstGeom prst="rect">
            <a:avLst/>
          </a:prstGeom>
        </p:spPr>
        <p:txBody>
          <a:bodyPr vert="horz" wrap="none" lIns="91440" tIns="45720" rIns="91440" bIns="45720" rtlCol="0" anchor="b" anchorCtr="0">
            <a:noAutofit/>
          </a:bodyPr>
          <a:lstStyle>
            <a:lvl1pPr>
              <a:defRPr lang="ru-RU" smtClean="0"/>
            </a:lvl1pPr>
          </a:lstStyle>
          <a:p>
            <a:endParaRPr lang="en-US"/>
          </a:p>
        </p:txBody>
      </p:sp>
      <p:sp>
        <p:nvSpPr>
          <p:cNvPr id="18" name="Rectangle 5"/>
          <p:cNvSpPr/>
          <p:nvPr userDrawn="1"/>
        </p:nvSpPr>
        <p:spPr>
          <a:xfrm>
            <a:off x="1" y="0"/>
            <a:ext cx="9902825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 smtClean="0">
              <a:solidFill>
                <a:prstClr val="white"/>
              </a:solidFill>
              <a:latin typeface="PF DinDisplay Pro" panose="02000506030000020004" pitchFamily="2" charset="0"/>
              <a:sym typeface="PF DinDisplay Pro" panose="02000506030000020004" pitchFamily="2" charset="0"/>
            </a:endParaRPr>
          </a:p>
        </p:txBody>
      </p:sp>
      <p:sp>
        <p:nvSpPr>
          <p:cNvPr id="19" name="Прямоугольник 18"/>
          <p:cNvSpPr/>
          <p:nvPr userDrawn="1"/>
        </p:nvSpPr>
        <p:spPr bwMode="auto">
          <a:xfrm>
            <a:off x="4661" y="123"/>
            <a:ext cx="9902825" cy="1260000"/>
          </a:xfrm>
          <a:prstGeom prst="rect">
            <a:avLst/>
          </a:prstGeom>
          <a:solidFill>
            <a:srgbClr val="DEDFE0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0" cap="flat" cmpd="sng" algn="ctr">
                <a:solidFill>
                  <a:srgbClr val="7F7F7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srgbClr val="595959"/>
              </a:solidFill>
              <a:latin typeface="PF DinDisplay Pro" panose="02000506030000020004" pitchFamily="2" charset="0"/>
              <a:sym typeface="PF DinDisplay Pro" panose="02000506030000020004" pitchFamily="2" charset="0"/>
            </a:endParaRPr>
          </a:p>
        </p:txBody>
      </p:sp>
      <p:sp>
        <p:nvSpPr>
          <p:cNvPr id="27" name="Овал 10"/>
          <p:cNvSpPr/>
          <p:nvPr userDrawn="1"/>
        </p:nvSpPr>
        <p:spPr>
          <a:xfrm>
            <a:off x="7917118" y="682058"/>
            <a:ext cx="1619481" cy="1620000"/>
          </a:xfrm>
          <a:prstGeom prst="ellipse">
            <a:avLst/>
          </a:prstGeom>
          <a:solidFill>
            <a:srgbClr val="00985F"/>
          </a:solidFill>
          <a:ln w="25400" cap="flat" cmpd="sng" algn="ctr">
            <a:noFill/>
            <a:prstDash val="solid"/>
          </a:ln>
          <a:effectLst/>
        </p:spPr>
        <p:txBody>
          <a:bodyPr lIns="107287" tIns="0" rIns="107287" bIns="53643" rtlCol="0" anchor="ctr"/>
          <a:lstStyle/>
          <a:p>
            <a:pPr algn="ctr">
              <a:defRPr/>
            </a:pPr>
            <a:endParaRPr lang="ru-RU" sz="9400" kern="0" dirty="0" smtClean="0">
              <a:solidFill>
                <a:prstClr val="white"/>
              </a:solidFill>
              <a:latin typeface="PF DinDisplay Pro" panose="02000506030000020004" pitchFamily="2" charset="0"/>
              <a:sym typeface="PF DinDisplay Pro" panose="02000506030000020004" pitchFamily="2" charset="0"/>
            </a:endParaRPr>
          </a:p>
        </p:txBody>
      </p:sp>
      <p:grpSp>
        <p:nvGrpSpPr>
          <p:cNvPr id="28" name="Group 16"/>
          <p:cNvGrpSpPr>
            <a:grpSpLocks noChangeAspect="1"/>
          </p:cNvGrpSpPr>
          <p:nvPr userDrawn="1"/>
        </p:nvGrpSpPr>
        <p:grpSpPr>
          <a:xfrm>
            <a:off x="8119960" y="882859"/>
            <a:ext cx="1213797" cy="1218398"/>
            <a:chOff x="5176838" y="2511426"/>
            <a:chExt cx="1830388" cy="1836737"/>
          </a:xfrm>
          <a:solidFill>
            <a:sysClr val="window" lastClr="FFFFFF"/>
          </a:solidFill>
        </p:grpSpPr>
        <p:sp>
          <p:nvSpPr>
            <p:cNvPr id="32" name="Freeform 6"/>
            <p:cNvSpPr>
              <a:spLocks noEditPoints="1"/>
            </p:cNvSpPr>
            <p:nvPr/>
          </p:nvSpPr>
          <p:spPr bwMode="auto">
            <a:xfrm>
              <a:off x="6008688" y="2519363"/>
              <a:ext cx="998538" cy="1828800"/>
            </a:xfrm>
            <a:custGeom>
              <a:avLst/>
              <a:gdLst>
                <a:gd name="T0" fmla="*/ 373 w 1888"/>
                <a:gd name="T1" fmla="*/ 1790 h 3457"/>
                <a:gd name="T2" fmla="*/ 372 w 1888"/>
                <a:gd name="T3" fmla="*/ 1790 h 3457"/>
                <a:gd name="T4" fmla="*/ 372 w 1888"/>
                <a:gd name="T5" fmla="*/ 1790 h 3457"/>
                <a:gd name="T6" fmla="*/ 372 w 1888"/>
                <a:gd name="T7" fmla="*/ 1790 h 3457"/>
                <a:gd name="T8" fmla="*/ 283 w 1888"/>
                <a:gd name="T9" fmla="*/ 1921 h 3457"/>
                <a:gd name="T10" fmla="*/ 15 w 1888"/>
                <a:gd name="T11" fmla="*/ 1931 h 3457"/>
                <a:gd name="T12" fmla="*/ 0 w 1888"/>
                <a:gd name="T13" fmla="*/ 1950 h 3457"/>
                <a:gd name="T14" fmla="*/ 336 w 1888"/>
                <a:gd name="T15" fmla="*/ 3447 h 3457"/>
                <a:gd name="T16" fmla="*/ 633 w 1888"/>
                <a:gd name="T17" fmla="*/ 3391 h 3457"/>
                <a:gd name="T18" fmla="*/ 910 w 1888"/>
                <a:gd name="T19" fmla="*/ 3286 h 3457"/>
                <a:gd name="T20" fmla="*/ 1161 w 1888"/>
                <a:gd name="T21" fmla="*/ 3137 h 3457"/>
                <a:gd name="T22" fmla="*/ 1382 w 1888"/>
                <a:gd name="T23" fmla="*/ 2949 h 3457"/>
                <a:gd name="T24" fmla="*/ 1570 w 1888"/>
                <a:gd name="T25" fmla="*/ 2726 h 3457"/>
                <a:gd name="T26" fmla="*/ 1719 w 1888"/>
                <a:gd name="T27" fmla="*/ 2474 h 3457"/>
                <a:gd name="T28" fmla="*/ 1822 w 1888"/>
                <a:gd name="T29" fmla="*/ 2197 h 3457"/>
                <a:gd name="T30" fmla="*/ 1880 w 1888"/>
                <a:gd name="T31" fmla="*/ 1900 h 3457"/>
                <a:gd name="T32" fmla="*/ 1884 w 1888"/>
                <a:gd name="T33" fmla="*/ 1599 h 3457"/>
                <a:gd name="T34" fmla="*/ 1842 w 1888"/>
                <a:gd name="T35" fmla="*/ 1320 h 3457"/>
                <a:gd name="T36" fmla="*/ 1758 w 1888"/>
                <a:gd name="T37" fmla="*/ 1058 h 3457"/>
                <a:gd name="T38" fmla="*/ 1635 w 1888"/>
                <a:gd name="T39" fmla="*/ 816 h 3457"/>
                <a:gd name="T40" fmla="*/ 1477 w 1888"/>
                <a:gd name="T41" fmla="*/ 598 h 3457"/>
                <a:gd name="T42" fmla="*/ 1287 w 1888"/>
                <a:gd name="T43" fmla="*/ 407 h 3457"/>
                <a:gd name="T44" fmla="*/ 1071 w 1888"/>
                <a:gd name="T45" fmla="*/ 247 h 3457"/>
                <a:gd name="T46" fmla="*/ 830 w 1888"/>
                <a:gd name="T47" fmla="*/ 122 h 3457"/>
                <a:gd name="T48" fmla="*/ 569 w 1888"/>
                <a:gd name="T49" fmla="*/ 36 h 3457"/>
                <a:gd name="T50" fmla="*/ 337 w 1888"/>
                <a:gd name="T51" fmla="*/ 2668 h 3457"/>
                <a:gd name="T52" fmla="*/ 209 w 1888"/>
                <a:gd name="T53" fmla="*/ 2625 h 3457"/>
                <a:gd name="T54" fmla="*/ 158 w 1888"/>
                <a:gd name="T55" fmla="*/ 2573 h 3457"/>
                <a:gd name="T56" fmla="*/ 123 w 1888"/>
                <a:gd name="T57" fmla="*/ 2429 h 3457"/>
                <a:gd name="T58" fmla="*/ 171 w 1888"/>
                <a:gd name="T59" fmla="*/ 2314 h 3457"/>
                <a:gd name="T60" fmla="*/ 234 w 1888"/>
                <a:gd name="T61" fmla="*/ 2260 h 3457"/>
                <a:gd name="T62" fmla="*/ 382 w 1888"/>
                <a:gd name="T63" fmla="*/ 2239 h 3457"/>
                <a:gd name="T64" fmla="*/ 484 w 1888"/>
                <a:gd name="T65" fmla="*/ 2291 h 3457"/>
                <a:gd name="T66" fmla="*/ 538 w 1888"/>
                <a:gd name="T67" fmla="*/ 2367 h 3457"/>
                <a:gd name="T68" fmla="*/ 545 w 1888"/>
                <a:gd name="T69" fmla="*/ 2516 h 3457"/>
                <a:gd name="T70" fmla="*/ 491 w 1888"/>
                <a:gd name="T71" fmla="*/ 2605 h 3457"/>
                <a:gd name="T72" fmla="*/ 402 w 1888"/>
                <a:gd name="T73" fmla="*/ 2658 h 3457"/>
                <a:gd name="T74" fmla="*/ 780 w 1888"/>
                <a:gd name="T75" fmla="*/ 2658 h 3457"/>
                <a:gd name="T76" fmla="*/ 692 w 1888"/>
                <a:gd name="T77" fmla="*/ 2605 h 3457"/>
                <a:gd name="T78" fmla="*/ 638 w 1888"/>
                <a:gd name="T79" fmla="*/ 2516 h 3457"/>
                <a:gd name="T80" fmla="*/ 646 w 1888"/>
                <a:gd name="T81" fmla="*/ 2367 h 3457"/>
                <a:gd name="T82" fmla="*/ 700 w 1888"/>
                <a:gd name="T83" fmla="*/ 2291 h 3457"/>
                <a:gd name="T84" fmla="*/ 802 w 1888"/>
                <a:gd name="T85" fmla="*/ 2239 h 3457"/>
                <a:gd name="T86" fmla="*/ 948 w 1888"/>
                <a:gd name="T87" fmla="*/ 2260 h 3457"/>
                <a:gd name="T88" fmla="*/ 1011 w 1888"/>
                <a:gd name="T89" fmla="*/ 2314 h 3457"/>
                <a:gd name="T90" fmla="*/ 1059 w 1888"/>
                <a:gd name="T91" fmla="*/ 2429 h 3457"/>
                <a:gd name="T92" fmla="*/ 1024 w 1888"/>
                <a:gd name="T93" fmla="*/ 2573 h 3457"/>
                <a:gd name="T94" fmla="*/ 973 w 1888"/>
                <a:gd name="T95" fmla="*/ 2625 h 3457"/>
                <a:gd name="T96" fmla="*/ 844 w 1888"/>
                <a:gd name="T97" fmla="*/ 2668 h 3457"/>
                <a:gd name="T98" fmla="*/ 1230 w 1888"/>
                <a:gd name="T99" fmla="*/ 2632 h 3457"/>
                <a:gd name="T100" fmla="*/ 1178 w 1888"/>
                <a:gd name="T101" fmla="*/ 2582 h 3457"/>
                <a:gd name="T102" fmla="*/ 1135 w 1888"/>
                <a:gd name="T103" fmla="*/ 2452 h 3457"/>
                <a:gd name="T104" fmla="*/ 1178 w 1888"/>
                <a:gd name="T105" fmla="*/ 2322 h 3457"/>
                <a:gd name="T106" fmla="*/ 1230 w 1888"/>
                <a:gd name="T107" fmla="*/ 2272 h 3457"/>
                <a:gd name="T108" fmla="*/ 1373 w 1888"/>
                <a:gd name="T109" fmla="*/ 2236 h 3457"/>
                <a:gd name="T110" fmla="*/ 1488 w 1888"/>
                <a:gd name="T111" fmla="*/ 2284 h 3457"/>
                <a:gd name="T112" fmla="*/ 1542 w 1888"/>
                <a:gd name="T113" fmla="*/ 2349 h 3457"/>
                <a:gd name="T114" fmla="*/ 1563 w 1888"/>
                <a:gd name="T115" fmla="*/ 2495 h 3457"/>
                <a:gd name="T116" fmla="*/ 1511 w 1888"/>
                <a:gd name="T117" fmla="*/ 2598 h 3457"/>
                <a:gd name="T118" fmla="*/ 1435 w 1888"/>
                <a:gd name="T119" fmla="*/ 2651 h 3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888" h="3457">
                  <a:moveTo>
                    <a:pt x="373" y="1790"/>
                  </a:move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0" y="1815"/>
                  </a:lnTo>
                  <a:lnTo>
                    <a:pt x="364" y="1838"/>
                  </a:lnTo>
                  <a:lnTo>
                    <a:pt x="353" y="1859"/>
                  </a:lnTo>
                  <a:lnTo>
                    <a:pt x="340" y="1878"/>
                  </a:lnTo>
                  <a:lnTo>
                    <a:pt x="323" y="1896"/>
                  </a:lnTo>
                  <a:lnTo>
                    <a:pt x="304" y="1910"/>
                  </a:lnTo>
                  <a:lnTo>
                    <a:pt x="283" y="1921"/>
                  </a:lnTo>
                  <a:lnTo>
                    <a:pt x="260" y="1927"/>
                  </a:lnTo>
                  <a:lnTo>
                    <a:pt x="241" y="1931"/>
                  </a:lnTo>
                  <a:lnTo>
                    <a:pt x="221" y="1931"/>
                  </a:lnTo>
                  <a:lnTo>
                    <a:pt x="202" y="1931"/>
                  </a:lnTo>
                  <a:lnTo>
                    <a:pt x="182" y="1931"/>
                  </a:lnTo>
                  <a:lnTo>
                    <a:pt x="19" y="1931"/>
                  </a:lnTo>
                  <a:lnTo>
                    <a:pt x="15" y="1931"/>
                  </a:lnTo>
                  <a:lnTo>
                    <a:pt x="12" y="1932"/>
                  </a:lnTo>
                  <a:lnTo>
                    <a:pt x="9" y="1934"/>
                  </a:lnTo>
                  <a:lnTo>
                    <a:pt x="5" y="1936"/>
                  </a:lnTo>
                  <a:lnTo>
                    <a:pt x="3" y="1939"/>
                  </a:lnTo>
                  <a:lnTo>
                    <a:pt x="1" y="1942"/>
                  </a:lnTo>
                  <a:lnTo>
                    <a:pt x="0" y="1945"/>
                  </a:lnTo>
                  <a:lnTo>
                    <a:pt x="0" y="1950"/>
                  </a:lnTo>
                  <a:lnTo>
                    <a:pt x="0" y="3449"/>
                  </a:lnTo>
                  <a:lnTo>
                    <a:pt x="80" y="3455"/>
                  </a:lnTo>
                  <a:lnTo>
                    <a:pt x="159" y="3457"/>
                  </a:lnTo>
                  <a:lnTo>
                    <a:pt x="205" y="3456"/>
                  </a:lnTo>
                  <a:lnTo>
                    <a:pt x="248" y="3455"/>
                  </a:lnTo>
                  <a:lnTo>
                    <a:pt x="293" y="3452"/>
                  </a:lnTo>
                  <a:lnTo>
                    <a:pt x="336" y="3447"/>
                  </a:lnTo>
                  <a:lnTo>
                    <a:pt x="380" y="3443"/>
                  </a:lnTo>
                  <a:lnTo>
                    <a:pt x="423" y="3437"/>
                  </a:lnTo>
                  <a:lnTo>
                    <a:pt x="465" y="3429"/>
                  </a:lnTo>
                  <a:lnTo>
                    <a:pt x="508" y="3422"/>
                  </a:lnTo>
                  <a:lnTo>
                    <a:pt x="550" y="3412"/>
                  </a:lnTo>
                  <a:lnTo>
                    <a:pt x="592" y="3403"/>
                  </a:lnTo>
                  <a:lnTo>
                    <a:pt x="633" y="3391"/>
                  </a:lnTo>
                  <a:lnTo>
                    <a:pt x="673" y="3379"/>
                  </a:lnTo>
                  <a:lnTo>
                    <a:pt x="715" y="3365"/>
                  </a:lnTo>
                  <a:lnTo>
                    <a:pt x="754" y="3352"/>
                  </a:lnTo>
                  <a:lnTo>
                    <a:pt x="794" y="3337"/>
                  </a:lnTo>
                  <a:lnTo>
                    <a:pt x="832" y="3321"/>
                  </a:lnTo>
                  <a:lnTo>
                    <a:pt x="872" y="3304"/>
                  </a:lnTo>
                  <a:lnTo>
                    <a:pt x="910" y="3286"/>
                  </a:lnTo>
                  <a:lnTo>
                    <a:pt x="947" y="3267"/>
                  </a:lnTo>
                  <a:lnTo>
                    <a:pt x="984" y="3247"/>
                  </a:lnTo>
                  <a:lnTo>
                    <a:pt x="1020" y="3227"/>
                  </a:lnTo>
                  <a:lnTo>
                    <a:pt x="1056" y="3206"/>
                  </a:lnTo>
                  <a:lnTo>
                    <a:pt x="1092" y="3184"/>
                  </a:lnTo>
                  <a:lnTo>
                    <a:pt x="1126" y="3160"/>
                  </a:lnTo>
                  <a:lnTo>
                    <a:pt x="1161" y="3137"/>
                  </a:lnTo>
                  <a:lnTo>
                    <a:pt x="1194" y="3112"/>
                  </a:lnTo>
                  <a:lnTo>
                    <a:pt x="1227" y="3087"/>
                  </a:lnTo>
                  <a:lnTo>
                    <a:pt x="1260" y="3060"/>
                  </a:lnTo>
                  <a:lnTo>
                    <a:pt x="1291" y="3034"/>
                  </a:lnTo>
                  <a:lnTo>
                    <a:pt x="1322" y="3006"/>
                  </a:lnTo>
                  <a:lnTo>
                    <a:pt x="1353" y="2977"/>
                  </a:lnTo>
                  <a:lnTo>
                    <a:pt x="1382" y="2949"/>
                  </a:lnTo>
                  <a:lnTo>
                    <a:pt x="1411" y="2919"/>
                  </a:lnTo>
                  <a:lnTo>
                    <a:pt x="1440" y="2889"/>
                  </a:lnTo>
                  <a:lnTo>
                    <a:pt x="1467" y="2857"/>
                  </a:lnTo>
                  <a:lnTo>
                    <a:pt x="1494" y="2825"/>
                  </a:lnTo>
                  <a:lnTo>
                    <a:pt x="1520" y="2793"/>
                  </a:lnTo>
                  <a:lnTo>
                    <a:pt x="1545" y="2760"/>
                  </a:lnTo>
                  <a:lnTo>
                    <a:pt x="1570" y="2726"/>
                  </a:lnTo>
                  <a:lnTo>
                    <a:pt x="1593" y="2692"/>
                  </a:lnTo>
                  <a:lnTo>
                    <a:pt x="1616" y="2657"/>
                  </a:lnTo>
                  <a:lnTo>
                    <a:pt x="1638" y="2622"/>
                  </a:lnTo>
                  <a:lnTo>
                    <a:pt x="1659" y="2586"/>
                  </a:lnTo>
                  <a:lnTo>
                    <a:pt x="1680" y="2549"/>
                  </a:lnTo>
                  <a:lnTo>
                    <a:pt x="1699" y="2511"/>
                  </a:lnTo>
                  <a:lnTo>
                    <a:pt x="1719" y="2474"/>
                  </a:lnTo>
                  <a:lnTo>
                    <a:pt x="1736" y="2436"/>
                  </a:lnTo>
                  <a:lnTo>
                    <a:pt x="1752" y="2398"/>
                  </a:lnTo>
                  <a:lnTo>
                    <a:pt x="1768" y="2358"/>
                  </a:lnTo>
                  <a:lnTo>
                    <a:pt x="1783" y="2319"/>
                  </a:lnTo>
                  <a:lnTo>
                    <a:pt x="1798" y="2278"/>
                  </a:lnTo>
                  <a:lnTo>
                    <a:pt x="1811" y="2238"/>
                  </a:lnTo>
                  <a:lnTo>
                    <a:pt x="1822" y="2197"/>
                  </a:lnTo>
                  <a:lnTo>
                    <a:pt x="1834" y="2155"/>
                  </a:lnTo>
                  <a:lnTo>
                    <a:pt x="1845" y="2114"/>
                  </a:lnTo>
                  <a:lnTo>
                    <a:pt x="1853" y="2072"/>
                  </a:lnTo>
                  <a:lnTo>
                    <a:pt x="1862" y="2030"/>
                  </a:lnTo>
                  <a:lnTo>
                    <a:pt x="1869" y="1986"/>
                  </a:lnTo>
                  <a:lnTo>
                    <a:pt x="1874" y="1943"/>
                  </a:lnTo>
                  <a:lnTo>
                    <a:pt x="1880" y="1900"/>
                  </a:lnTo>
                  <a:lnTo>
                    <a:pt x="1884" y="1855"/>
                  </a:lnTo>
                  <a:lnTo>
                    <a:pt x="1886" y="1811"/>
                  </a:lnTo>
                  <a:lnTo>
                    <a:pt x="1888" y="1767"/>
                  </a:lnTo>
                  <a:lnTo>
                    <a:pt x="1888" y="1722"/>
                  </a:lnTo>
                  <a:lnTo>
                    <a:pt x="1888" y="1681"/>
                  </a:lnTo>
                  <a:lnTo>
                    <a:pt x="1887" y="1639"/>
                  </a:lnTo>
                  <a:lnTo>
                    <a:pt x="1884" y="1599"/>
                  </a:lnTo>
                  <a:lnTo>
                    <a:pt x="1881" y="1558"/>
                  </a:lnTo>
                  <a:lnTo>
                    <a:pt x="1876" y="1518"/>
                  </a:lnTo>
                  <a:lnTo>
                    <a:pt x="1871" y="1477"/>
                  </a:lnTo>
                  <a:lnTo>
                    <a:pt x="1866" y="1438"/>
                  </a:lnTo>
                  <a:lnTo>
                    <a:pt x="1858" y="1398"/>
                  </a:lnTo>
                  <a:lnTo>
                    <a:pt x="1851" y="1359"/>
                  </a:lnTo>
                  <a:lnTo>
                    <a:pt x="1842" y="1320"/>
                  </a:lnTo>
                  <a:lnTo>
                    <a:pt x="1832" y="1282"/>
                  </a:lnTo>
                  <a:lnTo>
                    <a:pt x="1821" y="1243"/>
                  </a:lnTo>
                  <a:lnTo>
                    <a:pt x="1811" y="1205"/>
                  </a:lnTo>
                  <a:lnTo>
                    <a:pt x="1798" y="1168"/>
                  </a:lnTo>
                  <a:lnTo>
                    <a:pt x="1785" y="1131"/>
                  </a:lnTo>
                  <a:lnTo>
                    <a:pt x="1772" y="1095"/>
                  </a:lnTo>
                  <a:lnTo>
                    <a:pt x="1758" y="1058"/>
                  </a:lnTo>
                  <a:lnTo>
                    <a:pt x="1742" y="1022"/>
                  </a:lnTo>
                  <a:lnTo>
                    <a:pt x="1726" y="987"/>
                  </a:lnTo>
                  <a:lnTo>
                    <a:pt x="1709" y="952"/>
                  </a:lnTo>
                  <a:lnTo>
                    <a:pt x="1691" y="917"/>
                  </a:lnTo>
                  <a:lnTo>
                    <a:pt x="1673" y="883"/>
                  </a:lnTo>
                  <a:lnTo>
                    <a:pt x="1654" y="849"/>
                  </a:lnTo>
                  <a:lnTo>
                    <a:pt x="1635" y="816"/>
                  </a:lnTo>
                  <a:lnTo>
                    <a:pt x="1614" y="783"/>
                  </a:lnTo>
                  <a:lnTo>
                    <a:pt x="1592" y="751"/>
                  </a:lnTo>
                  <a:lnTo>
                    <a:pt x="1570" y="719"/>
                  </a:lnTo>
                  <a:lnTo>
                    <a:pt x="1548" y="688"/>
                  </a:lnTo>
                  <a:lnTo>
                    <a:pt x="1525" y="657"/>
                  </a:lnTo>
                  <a:lnTo>
                    <a:pt x="1501" y="628"/>
                  </a:lnTo>
                  <a:lnTo>
                    <a:pt x="1477" y="598"/>
                  </a:lnTo>
                  <a:lnTo>
                    <a:pt x="1451" y="569"/>
                  </a:lnTo>
                  <a:lnTo>
                    <a:pt x="1425" y="540"/>
                  </a:lnTo>
                  <a:lnTo>
                    <a:pt x="1398" y="513"/>
                  </a:lnTo>
                  <a:lnTo>
                    <a:pt x="1372" y="485"/>
                  </a:lnTo>
                  <a:lnTo>
                    <a:pt x="1344" y="459"/>
                  </a:lnTo>
                  <a:lnTo>
                    <a:pt x="1316" y="432"/>
                  </a:lnTo>
                  <a:lnTo>
                    <a:pt x="1287" y="407"/>
                  </a:lnTo>
                  <a:lnTo>
                    <a:pt x="1257" y="382"/>
                  </a:lnTo>
                  <a:lnTo>
                    <a:pt x="1228" y="359"/>
                  </a:lnTo>
                  <a:lnTo>
                    <a:pt x="1197" y="334"/>
                  </a:lnTo>
                  <a:lnTo>
                    <a:pt x="1166" y="312"/>
                  </a:lnTo>
                  <a:lnTo>
                    <a:pt x="1135" y="289"/>
                  </a:lnTo>
                  <a:lnTo>
                    <a:pt x="1103" y="268"/>
                  </a:lnTo>
                  <a:lnTo>
                    <a:pt x="1071" y="247"/>
                  </a:lnTo>
                  <a:lnTo>
                    <a:pt x="1038" y="228"/>
                  </a:lnTo>
                  <a:lnTo>
                    <a:pt x="1004" y="208"/>
                  </a:lnTo>
                  <a:lnTo>
                    <a:pt x="970" y="189"/>
                  </a:lnTo>
                  <a:lnTo>
                    <a:pt x="936" y="171"/>
                  </a:lnTo>
                  <a:lnTo>
                    <a:pt x="901" y="154"/>
                  </a:lnTo>
                  <a:lnTo>
                    <a:pt x="866" y="138"/>
                  </a:lnTo>
                  <a:lnTo>
                    <a:pt x="830" y="122"/>
                  </a:lnTo>
                  <a:lnTo>
                    <a:pt x="794" y="108"/>
                  </a:lnTo>
                  <a:lnTo>
                    <a:pt x="757" y="94"/>
                  </a:lnTo>
                  <a:lnTo>
                    <a:pt x="721" y="81"/>
                  </a:lnTo>
                  <a:lnTo>
                    <a:pt x="684" y="68"/>
                  </a:lnTo>
                  <a:lnTo>
                    <a:pt x="646" y="56"/>
                  </a:lnTo>
                  <a:lnTo>
                    <a:pt x="608" y="46"/>
                  </a:lnTo>
                  <a:lnTo>
                    <a:pt x="569" y="36"/>
                  </a:lnTo>
                  <a:lnTo>
                    <a:pt x="531" y="28"/>
                  </a:lnTo>
                  <a:lnTo>
                    <a:pt x="492" y="19"/>
                  </a:lnTo>
                  <a:lnTo>
                    <a:pt x="453" y="12"/>
                  </a:lnTo>
                  <a:lnTo>
                    <a:pt x="412" y="5"/>
                  </a:lnTo>
                  <a:lnTo>
                    <a:pt x="373" y="0"/>
                  </a:lnTo>
                  <a:lnTo>
                    <a:pt x="373" y="1790"/>
                  </a:lnTo>
                  <a:close/>
                  <a:moveTo>
                    <a:pt x="337" y="2668"/>
                  </a:moveTo>
                  <a:lnTo>
                    <a:pt x="316" y="2667"/>
                  </a:lnTo>
                  <a:lnTo>
                    <a:pt x="294" y="2663"/>
                  </a:lnTo>
                  <a:lnTo>
                    <a:pt x="274" y="2658"/>
                  </a:lnTo>
                  <a:lnTo>
                    <a:pt x="253" y="2651"/>
                  </a:lnTo>
                  <a:lnTo>
                    <a:pt x="234" y="2642"/>
                  </a:lnTo>
                  <a:lnTo>
                    <a:pt x="217" y="2632"/>
                  </a:lnTo>
                  <a:lnTo>
                    <a:pt x="209" y="2625"/>
                  </a:lnTo>
                  <a:lnTo>
                    <a:pt x="200" y="2619"/>
                  </a:lnTo>
                  <a:lnTo>
                    <a:pt x="192" y="2612"/>
                  </a:lnTo>
                  <a:lnTo>
                    <a:pt x="185" y="2605"/>
                  </a:lnTo>
                  <a:lnTo>
                    <a:pt x="178" y="2598"/>
                  </a:lnTo>
                  <a:lnTo>
                    <a:pt x="171" y="2589"/>
                  </a:lnTo>
                  <a:lnTo>
                    <a:pt x="164" y="2582"/>
                  </a:lnTo>
                  <a:lnTo>
                    <a:pt x="158" y="2573"/>
                  </a:lnTo>
                  <a:lnTo>
                    <a:pt x="147" y="2555"/>
                  </a:lnTo>
                  <a:lnTo>
                    <a:pt x="139" y="2536"/>
                  </a:lnTo>
                  <a:lnTo>
                    <a:pt x="132" y="2516"/>
                  </a:lnTo>
                  <a:lnTo>
                    <a:pt x="126" y="2495"/>
                  </a:lnTo>
                  <a:lnTo>
                    <a:pt x="123" y="2474"/>
                  </a:lnTo>
                  <a:lnTo>
                    <a:pt x="122" y="2452"/>
                  </a:lnTo>
                  <a:lnTo>
                    <a:pt x="123" y="2429"/>
                  </a:lnTo>
                  <a:lnTo>
                    <a:pt x="126" y="2408"/>
                  </a:lnTo>
                  <a:lnTo>
                    <a:pt x="132" y="2387"/>
                  </a:lnTo>
                  <a:lnTo>
                    <a:pt x="139" y="2367"/>
                  </a:lnTo>
                  <a:lnTo>
                    <a:pt x="147" y="2349"/>
                  </a:lnTo>
                  <a:lnTo>
                    <a:pt x="158" y="2331"/>
                  </a:lnTo>
                  <a:lnTo>
                    <a:pt x="164" y="2322"/>
                  </a:lnTo>
                  <a:lnTo>
                    <a:pt x="171" y="2314"/>
                  </a:lnTo>
                  <a:lnTo>
                    <a:pt x="178" y="2306"/>
                  </a:lnTo>
                  <a:lnTo>
                    <a:pt x="185" y="2299"/>
                  </a:lnTo>
                  <a:lnTo>
                    <a:pt x="192" y="2291"/>
                  </a:lnTo>
                  <a:lnTo>
                    <a:pt x="200" y="2284"/>
                  </a:lnTo>
                  <a:lnTo>
                    <a:pt x="209" y="2277"/>
                  </a:lnTo>
                  <a:lnTo>
                    <a:pt x="217" y="2272"/>
                  </a:lnTo>
                  <a:lnTo>
                    <a:pt x="234" y="2260"/>
                  </a:lnTo>
                  <a:lnTo>
                    <a:pt x="253" y="2252"/>
                  </a:lnTo>
                  <a:lnTo>
                    <a:pt x="274" y="2244"/>
                  </a:lnTo>
                  <a:lnTo>
                    <a:pt x="294" y="2239"/>
                  </a:lnTo>
                  <a:lnTo>
                    <a:pt x="316" y="2236"/>
                  </a:lnTo>
                  <a:lnTo>
                    <a:pt x="337" y="2235"/>
                  </a:lnTo>
                  <a:lnTo>
                    <a:pt x="359" y="2236"/>
                  </a:lnTo>
                  <a:lnTo>
                    <a:pt x="382" y="2239"/>
                  </a:lnTo>
                  <a:lnTo>
                    <a:pt x="402" y="2244"/>
                  </a:lnTo>
                  <a:lnTo>
                    <a:pt x="422" y="2252"/>
                  </a:lnTo>
                  <a:lnTo>
                    <a:pt x="441" y="2260"/>
                  </a:lnTo>
                  <a:lnTo>
                    <a:pt x="459" y="2272"/>
                  </a:lnTo>
                  <a:lnTo>
                    <a:pt x="468" y="2277"/>
                  </a:lnTo>
                  <a:lnTo>
                    <a:pt x="476" y="2284"/>
                  </a:lnTo>
                  <a:lnTo>
                    <a:pt x="484" y="2291"/>
                  </a:lnTo>
                  <a:lnTo>
                    <a:pt x="491" y="2299"/>
                  </a:lnTo>
                  <a:lnTo>
                    <a:pt x="498" y="2306"/>
                  </a:lnTo>
                  <a:lnTo>
                    <a:pt x="505" y="2314"/>
                  </a:lnTo>
                  <a:lnTo>
                    <a:pt x="511" y="2322"/>
                  </a:lnTo>
                  <a:lnTo>
                    <a:pt x="517" y="2331"/>
                  </a:lnTo>
                  <a:lnTo>
                    <a:pt x="528" y="2349"/>
                  </a:lnTo>
                  <a:lnTo>
                    <a:pt x="538" y="2367"/>
                  </a:lnTo>
                  <a:lnTo>
                    <a:pt x="545" y="2387"/>
                  </a:lnTo>
                  <a:lnTo>
                    <a:pt x="550" y="2408"/>
                  </a:lnTo>
                  <a:lnTo>
                    <a:pt x="553" y="2429"/>
                  </a:lnTo>
                  <a:lnTo>
                    <a:pt x="555" y="2452"/>
                  </a:lnTo>
                  <a:lnTo>
                    <a:pt x="553" y="2474"/>
                  </a:lnTo>
                  <a:lnTo>
                    <a:pt x="550" y="2495"/>
                  </a:lnTo>
                  <a:lnTo>
                    <a:pt x="545" y="2516"/>
                  </a:lnTo>
                  <a:lnTo>
                    <a:pt x="538" y="2536"/>
                  </a:lnTo>
                  <a:lnTo>
                    <a:pt x="528" y="2555"/>
                  </a:lnTo>
                  <a:lnTo>
                    <a:pt x="517" y="2573"/>
                  </a:lnTo>
                  <a:lnTo>
                    <a:pt x="511" y="2582"/>
                  </a:lnTo>
                  <a:lnTo>
                    <a:pt x="505" y="2589"/>
                  </a:lnTo>
                  <a:lnTo>
                    <a:pt x="498" y="2598"/>
                  </a:lnTo>
                  <a:lnTo>
                    <a:pt x="491" y="2605"/>
                  </a:lnTo>
                  <a:lnTo>
                    <a:pt x="484" y="2612"/>
                  </a:lnTo>
                  <a:lnTo>
                    <a:pt x="476" y="2619"/>
                  </a:lnTo>
                  <a:lnTo>
                    <a:pt x="468" y="2625"/>
                  </a:lnTo>
                  <a:lnTo>
                    <a:pt x="459" y="2632"/>
                  </a:lnTo>
                  <a:lnTo>
                    <a:pt x="441" y="2642"/>
                  </a:lnTo>
                  <a:lnTo>
                    <a:pt x="422" y="2651"/>
                  </a:lnTo>
                  <a:lnTo>
                    <a:pt x="402" y="2658"/>
                  </a:lnTo>
                  <a:lnTo>
                    <a:pt x="382" y="2663"/>
                  </a:lnTo>
                  <a:lnTo>
                    <a:pt x="359" y="2667"/>
                  </a:lnTo>
                  <a:lnTo>
                    <a:pt x="337" y="2668"/>
                  </a:lnTo>
                  <a:close/>
                  <a:moveTo>
                    <a:pt x="844" y="2668"/>
                  </a:moveTo>
                  <a:lnTo>
                    <a:pt x="823" y="2667"/>
                  </a:lnTo>
                  <a:lnTo>
                    <a:pt x="802" y="2663"/>
                  </a:lnTo>
                  <a:lnTo>
                    <a:pt x="780" y="2658"/>
                  </a:lnTo>
                  <a:lnTo>
                    <a:pt x="760" y="2651"/>
                  </a:lnTo>
                  <a:lnTo>
                    <a:pt x="742" y="2642"/>
                  </a:lnTo>
                  <a:lnTo>
                    <a:pt x="724" y="2632"/>
                  </a:lnTo>
                  <a:lnTo>
                    <a:pt x="716" y="2625"/>
                  </a:lnTo>
                  <a:lnTo>
                    <a:pt x="707" y="2619"/>
                  </a:lnTo>
                  <a:lnTo>
                    <a:pt x="700" y="2612"/>
                  </a:lnTo>
                  <a:lnTo>
                    <a:pt x="692" y="2605"/>
                  </a:lnTo>
                  <a:lnTo>
                    <a:pt x="685" y="2598"/>
                  </a:lnTo>
                  <a:lnTo>
                    <a:pt x="678" y="2589"/>
                  </a:lnTo>
                  <a:lnTo>
                    <a:pt x="671" y="2582"/>
                  </a:lnTo>
                  <a:lnTo>
                    <a:pt x="666" y="2573"/>
                  </a:lnTo>
                  <a:lnTo>
                    <a:pt x="654" y="2555"/>
                  </a:lnTo>
                  <a:lnTo>
                    <a:pt x="646" y="2536"/>
                  </a:lnTo>
                  <a:lnTo>
                    <a:pt x="638" y="2516"/>
                  </a:lnTo>
                  <a:lnTo>
                    <a:pt x="633" y="2495"/>
                  </a:lnTo>
                  <a:lnTo>
                    <a:pt x="630" y="2474"/>
                  </a:lnTo>
                  <a:lnTo>
                    <a:pt x="629" y="2452"/>
                  </a:lnTo>
                  <a:lnTo>
                    <a:pt x="630" y="2429"/>
                  </a:lnTo>
                  <a:lnTo>
                    <a:pt x="633" y="2408"/>
                  </a:lnTo>
                  <a:lnTo>
                    <a:pt x="638" y="2387"/>
                  </a:lnTo>
                  <a:lnTo>
                    <a:pt x="646" y="2367"/>
                  </a:lnTo>
                  <a:lnTo>
                    <a:pt x="654" y="2349"/>
                  </a:lnTo>
                  <a:lnTo>
                    <a:pt x="666" y="2331"/>
                  </a:lnTo>
                  <a:lnTo>
                    <a:pt x="671" y="2322"/>
                  </a:lnTo>
                  <a:lnTo>
                    <a:pt x="678" y="2314"/>
                  </a:lnTo>
                  <a:lnTo>
                    <a:pt x="685" y="2306"/>
                  </a:lnTo>
                  <a:lnTo>
                    <a:pt x="692" y="2299"/>
                  </a:lnTo>
                  <a:lnTo>
                    <a:pt x="700" y="2291"/>
                  </a:lnTo>
                  <a:lnTo>
                    <a:pt x="707" y="2284"/>
                  </a:lnTo>
                  <a:lnTo>
                    <a:pt x="716" y="2277"/>
                  </a:lnTo>
                  <a:lnTo>
                    <a:pt x="724" y="2272"/>
                  </a:lnTo>
                  <a:lnTo>
                    <a:pt x="742" y="2260"/>
                  </a:lnTo>
                  <a:lnTo>
                    <a:pt x="760" y="2252"/>
                  </a:lnTo>
                  <a:lnTo>
                    <a:pt x="780" y="2244"/>
                  </a:lnTo>
                  <a:lnTo>
                    <a:pt x="802" y="2239"/>
                  </a:lnTo>
                  <a:lnTo>
                    <a:pt x="823" y="2236"/>
                  </a:lnTo>
                  <a:lnTo>
                    <a:pt x="844" y="2235"/>
                  </a:lnTo>
                  <a:lnTo>
                    <a:pt x="866" y="2236"/>
                  </a:lnTo>
                  <a:lnTo>
                    <a:pt x="888" y="2239"/>
                  </a:lnTo>
                  <a:lnTo>
                    <a:pt x="909" y="2244"/>
                  </a:lnTo>
                  <a:lnTo>
                    <a:pt x="929" y="2252"/>
                  </a:lnTo>
                  <a:lnTo>
                    <a:pt x="948" y="2260"/>
                  </a:lnTo>
                  <a:lnTo>
                    <a:pt x="966" y="2272"/>
                  </a:lnTo>
                  <a:lnTo>
                    <a:pt x="973" y="2277"/>
                  </a:lnTo>
                  <a:lnTo>
                    <a:pt x="982" y="2284"/>
                  </a:lnTo>
                  <a:lnTo>
                    <a:pt x="990" y="2291"/>
                  </a:lnTo>
                  <a:lnTo>
                    <a:pt x="998" y="2299"/>
                  </a:lnTo>
                  <a:lnTo>
                    <a:pt x="1004" y="2306"/>
                  </a:lnTo>
                  <a:lnTo>
                    <a:pt x="1011" y="2314"/>
                  </a:lnTo>
                  <a:lnTo>
                    <a:pt x="1018" y="2322"/>
                  </a:lnTo>
                  <a:lnTo>
                    <a:pt x="1024" y="2331"/>
                  </a:lnTo>
                  <a:lnTo>
                    <a:pt x="1035" y="2349"/>
                  </a:lnTo>
                  <a:lnTo>
                    <a:pt x="1043" y="2367"/>
                  </a:lnTo>
                  <a:lnTo>
                    <a:pt x="1051" y="2387"/>
                  </a:lnTo>
                  <a:lnTo>
                    <a:pt x="1056" y="2408"/>
                  </a:lnTo>
                  <a:lnTo>
                    <a:pt x="1059" y="2429"/>
                  </a:lnTo>
                  <a:lnTo>
                    <a:pt x="1060" y="2452"/>
                  </a:lnTo>
                  <a:lnTo>
                    <a:pt x="1059" y="2474"/>
                  </a:lnTo>
                  <a:lnTo>
                    <a:pt x="1056" y="2495"/>
                  </a:lnTo>
                  <a:lnTo>
                    <a:pt x="1051" y="2516"/>
                  </a:lnTo>
                  <a:lnTo>
                    <a:pt x="1043" y="2536"/>
                  </a:lnTo>
                  <a:lnTo>
                    <a:pt x="1035" y="2555"/>
                  </a:lnTo>
                  <a:lnTo>
                    <a:pt x="1024" y="2573"/>
                  </a:lnTo>
                  <a:lnTo>
                    <a:pt x="1018" y="2582"/>
                  </a:lnTo>
                  <a:lnTo>
                    <a:pt x="1011" y="2589"/>
                  </a:lnTo>
                  <a:lnTo>
                    <a:pt x="1004" y="2598"/>
                  </a:lnTo>
                  <a:lnTo>
                    <a:pt x="998" y="2605"/>
                  </a:lnTo>
                  <a:lnTo>
                    <a:pt x="990" y="2612"/>
                  </a:lnTo>
                  <a:lnTo>
                    <a:pt x="982" y="2619"/>
                  </a:lnTo>
                  <a:lnTo>
                    <a:pt x="973" y="2625"/>
                  </a:lnTo>
                  <a:lnTo>
                    <a:pt x="966" y="2632"/>
                  </a:lnTo>
                  <a:lnTo>
                    <a:pt x="948" y="2642"/>
                  </a:lnTo>
                  <a:lnTo>
                    <a:pt x="929" y="2651"/>
                  </a:lnTo>
                  <a:lnTo>
                    <a:pt x="909" y="2658"/>
                  </a:lnTo>
                  <a:lnTo>
                    <a:pt x="888" y="2663"/>
                  </a:lnTo>
                  <a:lnTo>
                    <a:pt x="866" y="2667"/>
                  </a:lnTo>
                  <a:lnTo>
                    <a:pt x="844" y="2668"/>
                  </a:lnTo>
                  <a:close/>
                  <a:moveTo>
                    <a:pt x="1351" y="2668"/>
                  </a:moveTo>
                  <a:lnTo>
                    <a:pt x="1329" y="2667"/>
                  </a:lnTo>
                  <a:lnTo>
                    <a:pt x="1307" y="2663"/>
                  </a:lnTo>
                  <a:lnTo>
                    <a:pt x="1287" y="2658"/>
                  </a:lnTo>
                  <a:lnTo>
                    <a:pt x="1267" y="2651"/>
                  </a:lnTo>
                  <a:lnTo>
                    <a:pt x="1248" y="2642"/>
                  </a:lnTo>
                  <a:lnTo>
                    <a:pt x="1230" y="2632"/>
                  </a:lnTo>
                  <a:lnTo>
                    <a:pt x="1221" y="2625"/>
                  </a:lnTo>
                  <a:lnTo>
                    <a:pt x="1214" y="2619"/>
                  </a:lnTo>
                  <a:lnTo>
                    <a:pt x="1205" y="2612"/>
                  </a:lnTo>
                  <a:lnTo>
                    <a:pt x="1198" y="2605"/>
                  </a:lnTo>
                  <a:lnTo>
                    <a:pt x="1191" y="2598"/>
                  </a:lnTo>
                  <a:lnTo>
                    <a:pt x="1184" y="2589"/>
                  </a:lnTo>
                  <a:lnTo>
                    <a:pt x="1178" y="2582"/>
                  </a:lnTo>
                  <a:lnTo>
                    <a:pt x="1172" y="2573"/>
                  </a:lnTo>
                  <a:lnTo>
                    <a:pt x="1161" y="2555"/>
                  </a:lnTo>
                  <a:lnTo>
                    <a:pt x="1152" y="2536"/>
                  </a:lnTo>
                  <a:lnTo>
                    <a:pt x="1145" y="2516"/>
                  </a:lnTo>
                  <a:lnTo>
                    <a:pt x="1140" y="2495"/>
                  </a:lnTo>
                  <a:lnTo>
                    <a:pt x="1137" y="2474"/>
                  </a:lnTo>
                  <a:lnTo>
                    <a:pt x="1135" y="2452"/>
                  </a:lnTo>
                  <a:lnTo>
                    <a:pt x="1137" y="2429"/>
                  </a:lnTo>
                  <a:lnTo>
                    <a:pt x="1140" y="2408"/>
                  </a:lnTo>
                  <a:lnTo>
                    <a:pt x="1145" y="2387"/>
                  </a:lnTo>
                  <a:lnTo>
                    <a:pt x="1152" y="2367"/>
                  </a:lnTo>
                  <a:lnTo>
                    <a:pt x="1161" y="2349"/>
                  </a:lnTo>
                  <a:lnTo>
                    <a:pt x="1172" y="2331"/>
                  </a:lnTo>
                  <a:lnTo>
                    <a:pt x="1178" y="2322"/>
                  </a:lnTo>
                  <a:lnTo>
                    <a:pt x="1184" y="2314"/>
                  </a:lnTo>
                  <a:lnTo>
                    <a:pt x="1191" y="2306"/>
                  </a:lnTo>
                  <a:lnTo>
                    <a:pt x="1198" y="2299"/>
                  </a:lnTo>
                  <a:lnTo>
                    <a:pt x="1205" y="2291"/>
                  </a:lnTo>
                  <a:lnTo>
                    <a:pt x="1214" y="2284"/>
                  </a:lnTo>
                  <a:lnTo>
                    <a:pt x="1221" y="2277"/>
                  </a:lnTo>
                  <a:lnTo>
                    <a:pt x="1230" y="2272"/>
                  </a:lnTo>
                  <a:lnTo>
                    <a:pt x="1248" y="2260"/>
                  </a:lnTo>
                  <a:lnTo>
                    <a:pt x="1267" y="2252"/>
                  </a:lnTo>
                  <a:lnTo>
                    <a:pt x="1287" y="2244"/>
                  </a:lnTo>
                  <a:lnTo>
                    <a:pt x="1307" y="2239"/>
                  </a:lnTo>
                  <a:lnTo>
                    <a:pt x="1329" y="2236"/>
                  </a:lnTo>
                  <a:lnTo>
                    <a:pt x="1351" y="2235"/>
                  </a:lnTo>
                  <a:lnTo>
                    <a:pt x="1373" y="2236"/>
                  </a:lnTo>
                  <a:lnTo>
                    <a:pt x="1394" y="2239"/>
                  </a:lnTo>
                  <a:lnTo>
                    <a:pt x="1415" y="2244"/>
                  </a:lnTo>
                  <a:lnTo>
                    <a:pt x="1435" y="2252"/>
                  </a:lnTo>
                  <a:lnTo>
                    <a:pt x="1455" y="2260"/>
                  </a:lnTo>
                  <a:lnTo>
                    <a:pt x="1472" y="2272"/>
                  </a:lnTo>
                  <a:lnTo>
                    <a:pt x="1480" y="2277"/>
                  </a:lnTo>
                  <a:lnTo>
                    <a:pt x="1488" y="2284"/>
                  </a:lnTo>
                  <a:lnTo>
                    <a:pt x="1496" y="2291"/>
                  </a:lnTo>
                  <a:lnTo>
                    <a:pt x="1504" y="2299"/>
                  </a:lnTo>
                  <a:lnTo>
                    <a:pt x="1511" y="2306"/>
                  </a:lnTo>
                  <a:lnTo>
                    <a:pt x="1518" y="2314"/>
                  </a:lnTo>
                  <a:lnTo>
                    <a:pt x="1525" y="2322"/>
                  </a:lnTo>
                  <a:lnTo>
                    <a:pt x="1530" y="2331"/>
                  </a:lnTo>
                  <a:lnTo>
                    <a:pt x="1542" y="2349"/>
                  </a:lnTo>
                  <a:lnTo>
                    <a:pt x="1550" y="2367"/>
                  </a:lnTo>
                  <a:lnTo>
                    <a:pt x="1557" y="2387"/>
                  </a:lnTo>
                  <a:lnTo>
                    <a:pt x="1563" y="2408"/>
                  </a:lnTo>
                  <a:lnTo>
                    <a:pt x="1566" y="2429"/>
                  </a:lnTo>
                  <a:lnTo>
                    <a:pt x="1567" y="2452"/>
                  </a:lnTo>
                  <a:lnTo>
                    <a:pt x="1566" y="2474"/>
                  </a:lnTo>
                  <a:lnTo>
                    <a:pt x="1563" y="2495"/>
                  </a:lnTo>
                  <a:lnTo>
                    <a:pt x="1557" y="2516"/>
                  </a:lnTo>
                  <a:lnTo>
                    <a:pt x="1550" y="2536"/>
                  </a:lnTo>
                  <a:lnTo>
                    <a:pt x="1542" y="2555"/>
                  </a:lnTo>
                  <a:lnTo>
                    <a:pt x="1530" y="2573"/>
                  </a:lnTo>
                  <a:lnTo>
                    <a:pt x="1525" y="2582"/>
                  </a:lnTo>
                  <a:lnTo>
                    <a:pt x="1518" y="2589"/>
                  </a:lnTo>
                  <a:lnTo>
                    <a:pt x="1511" y="2598"/>
                  </a:lnTo>
                  <a:lnTo>
                    <a:pt x="1504" y="2605"/>
                  </a:lnTo>
                  <a:lnTo>
                    <a:pt x="1496" y="2612"/>
                  </a:lnTo>
                  <a:lnTo>
                    <a:pt x="1488" y="2619"/>
                  </a:lnTo>
                  <a:lnTo>
                    <a:pt x="1480" y="2625"/>
                  </a:lnTo>
                  <a:lnTo>
                    <a:pt x="1472" y="2632"/>
                  </a:lnTo>
                  <a:lnTo>
                    <a:pt x="1455" y="2642"/>
                  </a:lnTo>
                  <a:lnTo>
                    <a:pt x="1435" y="2651"/>
                  </a:lnTo>
                  <a:lnTo>
                    <a:pt x="1415" y="2658"/>
                  </a:lnTo>
                  <a:lnTo>
                    <a:pt x="1394" y="2663"/>
                  </a:lnTo>
                  <a:lnTo>
                    <a:pt x="1373" y="2667"/>
                  </a:lnTo>
                  <a:lnTo>
                    <a:pt x="1351" y="266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 kern="0" smtClean="0">
                <a:solidFill>
                  <a:prstClr val="black"/>
                </a:solidFill>
                <a:latin typeface="PF DinDisplay Pro" panose="02000506030000020004" pitchFamily="2" charset="0"/>
                <a:sym typeface="PF DinDisplay Pro" panose="02000506030000020004" pitchFamily="2" charset="0"/>
              </a:endParaRPr>
            </a:p>
          </p:txBody>
        </p:sp>
        <p:sp>
          <p:nvSpPr>
            <p:cNvPr id="33" name="Freeform 7"/>
            <p:cNvSpPr>
              <a:spLocks noEditPoints="1"/>
            </p:cNvSpPr>
            <p:nvPr/>
          </p:nvSpPr>
          <p:spPr bwMode="auto">
            <a:xfrm>
              <a:off x="5176838" y="2511426"/>
              <a:ext cx="919163" cy="1816100"/>
            </a:xfrm>
            <a:custGeom>
              <a:avLst/>
              <a:gdLst>
                <a:gd name="T0" fmla="*/ 1734 w 1735"/>
                <a:gd name="T1" fmla="*/ 0 h 3431"/>
                <a:gd name="T2" fmla="*/ 1734 w 1735"/>
                <a:gd name="T3" fmla="*/ 0 h 3431"/>
                <a:gd name="T4" fmla="*/ 1733 w 1735"/>
                <a:gd name="T5" fmla="*/ 0 h 3431"/>
                <a:gd name="T6" fmla="*/ 1733 w 1735"/>
                <a:gd name="T7" fmla="*/ 0 h 3431"/>
                <a:gd name="T8" fmla="*/ 1732 w 1735"/>
                <a:gd name="T9" fmla="*/ 0 h 3431"/>
                <a:gd name="T10" fmla="*/ 1731 w 1735"/>
                <a:gd name="T11" fmla="*/ 0 h 3431"/>
                <a:gd name="T12" fmla="*/ 1730 w 1735"/>
                <a:gd name="T13" fmla="*/ 0 h 3431"/>
                <a:gd name="T14" fmla="*/ 1729 w 1735"/>
                <a:gd name="T15" fmla="*/ 0 h 3431"/>
                <a:gd name="T16" fmla="*/ 1510 w 1735"/>
                <a:gd name="T17" fmla="*/ 14 h 3431"/>
                <a:gd name="T18" fmla="*/ 1298 w 1735"/>
                <a:gd name="T19" fmla="*/ 55 h 3431"/>
                <a:gd name="T20" fmla="*/ 1095 w 1735"/>
                <a:gd name="T21" fmla="*/ 121 h 3431"/>
                <a:gd name="T22" fmla="*/ 905 w 1735"/>
                <a:gd name="T23" fmla="*/ 210 h 3431"/>
                <a:gd name="T24" fmla="*/ 728 w 1735"/>
                <a:gd name="T25" fmla="*/ 320 h 3431"/>
                <a:gd name="T26" fmla="*/ 567 w 1735"/>
                <a:gd name="T27" fmla="*/ 451 h 3431"/>
                <a:gd name="T28" fmla="*/ 422 w 1735"/>
                <a:gd name="T29" fmla="*/ 600 h 3431"/>
                <a:gd name="T30" fmla="*/ 296 w 1735"/>
                <a:gd name="T31" fmla="*/ 765 h 3431"/>
                <a:gd name="T32" fmla="*/ 190 w 1735"/>
                <a:gd name="T33" fmla="*/ 945 h 3431"/>
                <a:gd name="T34" fmla="*/ 105 w 1735"/>
                <a:gd name="T35" fmla="*/ 1138 h 3431"/>
                <a:gd name="T36" fmla="*/ 45 w 1735"/>
                <a:gd name="T37" fmla="*/ 1344 h 3431"/>
                <a:gd name="T38" fmla="*/ 10 w 1735"/>
                <a:gd name="T39" fmla="*/ 1558 h 3431"/>
                <a:gd name="T40" fmla="*/ 1 w 1735"/>
                <a:gd name="T41" fmla="*/ 1773 h 3431"/>
                <a:gd name="T42" fmla="*/ 15 w 1735"/>
                <a:gd name="T43" fmla="*/ 1965 h 3431"/>
                <a:gd name="T44" fmla="*/ 50 w 1735"/>
                <a:gd name="T45" fmla="*/ 2150 h 3431"/>
                <a:gd name="T46" fmla="*/ 104 w 1735"/>
                <a:gd name="T47" fmla="*/ 2327 h 3431"/>
                <a:gd name="T48" fmla="*/ 175 w 1735"/>
                <a:gd name="T49" fmla="*/ 2496 h 3431"/>
                <a:gd name="T50" fmla="*/ 263 w 1735"/>
                <a:gd name="T51" fmla="*/ 2655 h 3431"/>
                <a:gd name="T52" fmla="*/ 367 w 1735"/>
                <a:gd name="T53" fmla="*/ 2803 h 3431"/>
                <a:gd name="T54" fmla="*/ 486 w 1735"/>
                <a:gd name="T55" fmla="*/ 2939 h 3431"/>
                <a:gd name="T56" fmla="*/ 617 w 1735"/>
                <a:gd name="T57" fmla="*/ 3063 h 3431"/>
                <a:gd name="T58" fmla="*/ 760 w 1735"/>
                <a:gd name="T59" fmla="*/ 3172 h 3431"/>
                <a:gd name="T60" fmla="*/ 916 w 1735"/>
                <a:gd name="T61" fmla="*/ 3266 h 3431"/>
                <a:gd name="T62" fmla="*/ 1080 w 1735"/>
                <a:gd name="T63" fmla="*/ 3343 h 3431"/>
                <a:gd name="T64" fmla="*/ 1254 w 1735"/>
                <a:gd name="T65" fmla="*/ 3403 h 3431"/>
                <a:gd name="T66" fmla="*/ 1365 w 1735"/>
                <a:gd name="T67" fmla="*/ 1847 h 3431"/>
                <a:gd name="T68" fmla="*/ 1446 w 1735"/>
                <a:gd name="T69" fmla="*/ 1748 h 3431"/>
                <a:gd name="T70" fmla="*/ 1498 w 1735"/>
                <a:gd name="T71" fmla="*/ 1735 h 3431"/>
                <a:gd name="T72" fmla="*/ 1498 w 1735"/>
                <a:gd name="T73" fmla="*/ 1735 h 3431"/>
                <a:gd name="T74" fmla="*/ 1498 w 1735"/>
                <a:gd name="T75" fmla="*/ 1735 h 3431"/>
                <a:gd name="T76" fmla="*/ 1498 w 1735"/>
                <a:gd name="T77" fmla="*/ 1735 h 3431"/>
                <a:gd name="T78" fmla="*/ 1704 w 1735"/>
                <a:gd name="T79" fmla="*/ 1735 h 3431"/>
                <a:gd name="T80" fmla="*/ 1730 w 1735"/>
                <a:gd name="T81" fmla="*/ 1729 h 3431"/>
                <a:gd name="T82" fmla="*/ 1735 w 1735"/>
                <a:gd name="T83" fmla="*/ 0 h 3431"/>
                <a:gd name="T84" fmla="*/ 1314 w 1735"/>
                <a:gd name="T85" fmla="*/ 1414 h 3431"/>
                <a:gd name="T86" fmla="*/ 1253 w 1735"/>
                <a:gd name="T87" fmla="*/ 1375 h 3431"/>
                <a:gd name="T88" fmla="*/ 1219 w 1735"/>
                <a:gd name="T89" fmla="*/ 1335 h 3431"/>
                <a:gd name="T90" fmla="*/ 1183 w 1735"/>
                <a:gd name="T91" fmla="*/ 1236 h 3431"/>
                <a:gd name="T92" fmla="*/ 1199 w 1735"/>
                <a:gd name="T93" fmla="*/ 1130 h 3431"/>
                <a:gd name="T94" fmla="*/ 1238 w 1735"/>
                <a:gd name="T95" fmla="*/ 1068 h 3431"/>
                <a:gd name="T96" fmla="*/ 1277 w 1735"/>
                <a:gd name="T97" fmla="*/ 1034 h 3431"/>
                <a:gd name="T98" fmla="*/ 1376 w 1735"/>
                <a:gd name="T99" fmla="*/ 998 h 3431"/>
                <a:gd name="T100" fmla="*/ 1482 w 1735"/>
                <a:gd name="T101" fmla="*/ 1014 h 3431"/>
                <a:gd name="T102" fmla="*/ 1544 w 1735"/>
                <a:gd name="T103" fmla="*/ 1053 h 3431"/>
                <a:gd name="T104" fmla="*/ 1578 w 1735"/>
                <a:gd name="T105" fmla="*/ 1093 h 3431"/>
                <a:gd name="T106" fmla="*/ 1614 w 1735"/>
                <a:gd name="T107" fmla="*/ 1192 h 3431"/>
                <a:gd name="T108" fmla="*/ 1598 w 1735"/>
                <a:gd name="T109" fmla="*/ 1298 h 3431"/>
                <a:gd name="T110" fmla="*/ 1558 w 1735"/>
                <a:gd name="T111" fmla="*/ 1360 h 3431"/>
                <a:gd name="T112" fmla="*/ 1519 w 1735"/>
                <a:gd name="T113" fmla="*/ 1394 h 3431"/>
                <a:gd name="T114" fmla="*/ 1421 w 1735"/>
                <a:gd name="T115" fmla="*/ 1430 h 3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35" h="3431">
                  <a:moveTo>
                    <a:pt x="1735" y="0"/>
                  </a:move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2" y="0"/>
                  </a:lnTo>
                  <a:lnTo>
                    <a:pt x="1732" y="0"/>
                  </a:lnTo>
                  <a:lnTo>
                    <a:pt x="1732" y="0"/>
                  </a:lnTo>
                  <a:lnTo>
                    <a:pt x="1732" y="0"/>
                  </a:lnTo>
                  <a:lnTo>
                    <a:pt x="1732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29" y="0"/>
                  </a:lnTo>
                  <a:lnTo>
                    <a:pt x="1685" y="1"/>
                  </a:lnTo>
                  <a:lnTo>
                    <a:pt x="1641" y="2"/>
                  </a:lnTo>
                  <a:lnTo>
                    <a:pt x="1597" y="6"/>
                  </a:lnTo>
                  <a:lnTo>
                    <a:pt x="1553" y="10"/>
                  </a:lnTo>
                  <a:lnTo>
                    <a:pt x="1510" y="14"/>
                  </a:lnTo>
                  <a:lnTo>
                    <a:pt x="1466" y="21"/>
                  </a:lnTo>
                  <a:lnTo>
                    <a:pt x="1424" y="28"/>
                  </a:lnTo>
                  <a:lnTo>
                    <a:pt x="1381" y="35"/>
                  </a:lnTo>
                  <a:lnTo>
                    <a:pt x="1339" y="45"/>
                  </a:lnTo>
                  <a:lnTo>
                    <a:pt x="1298" y="55"/>
                  </a:lnTo>
                  <a:lnTo>
                    <a:pt x="1256" y="66"/>
                  </a:lnTo>
                  <a:lnTo>
                    <a:pt x="1215" y="78"/>
                  </a:lnTo>
                  <a:lnTo>
                    <a:pt x="1175" y="92"/>
                  </a:lnTo>
                  <a:lnTo>
                    <a:pt x="1135" y="106"/>
                  </a:lnTo>
                  <a:lnTo>
                    <a:pt x="1095" y="121"/>
                  </a:lnTo>
                  <a:lnTo>
                    <a:pt x="1057" y="136"/>
                  </a:lnTo>
                  <a:lnTo>
                    <a:pt x="1018" y="154"/>
                  </a:lnTo>
                  <a:lnTo>
                    <a:pt x="980" y="172"/>
                  </a:lnTo>
                  <a:lnTo>
                    <a:pt x="943" y="191"/>
                  </a:lnTo>
                  <a:lnTo>
                    <a:pt x="905" y="210"/>
                  </a:lnTo>
                  <a:lnTo>
                    <a:pt x="869" y="230"/>
                  </a:lnTo>
                  <a:lnTo>
                    <a:pt x="833" y="251"/>
                  </a:lnTo>
                  <a:lnTo>
                    <a:pt x="797" y="274"/>
                  </a:lnTo>
                  <a:lnTo>
                    <a:pt x="763" y="297"/>
                  </a:lnTo>
                  <a:lnTo>
                    <a:pt x="728" y="320"/>
                  </a:lnTo>
                  <a:lnTo>
                    <a:pt x="695" y="345"/>
                  </a:lnTo>
                  <a:lnTo>
                    <a:pt x="662" y="370"/>
                  </a:lnTo>
                  <a:lnTo>
                    <a:pt x="630" y="397"/>
                  </a:lnTo>
                  <a:lnTo>
                    <a:pt x="598" y="424"/>
                  </a:lnTo>
                  <a:lnTo>
                    <a:pt x="567" y="451"/>
                  </a:lnTo>
                  <a:lnTo>
                    <a:pt x="536" y="479"/>
                  </a:lnTo>
                  <a:lnTo>
                    <a:pt x="507" y="509"/>
                  </a:lnTo>
                  <a:lnTo>
                    <a:pt x="478" y="539"/>
                  </a:lnTo>
                  <a:lnTo>
                    <a:pt x="450" y="568"/>
                  </a:lnTo>
                  <a:lnTo>
                    <a:pt x="422" y="600"/>
                  </a:lnTo>
                  <a:lnTo>
                    <a:pt x="395" y="632"/>
                  </a:lnTo>
                  <a:lnTo>
                    <a:pt x="369" y="664"/>
                  </a:lnTo>
                  <a:lnTo>
                    <a:pt x="344" y="697"/>
                  </a:lnTo>
                  <a:lnTo>
                    <a:pt x="319" y="731"/>
                  </a:lnTo>
                  <a:lnTo>
                    <a:pt x="296" y="765"/>
                  </a:lnTo>
                  <a:lnTo>
                    <a:pt x="273" y="800"/>
                  </a:lnTo>
                  <a:lnTo>
                    <a:pt x="250" y="835"/>
                  </a:lnTo>
                  <a:lnTo>
                    <a:pt x="229" y="871"/>
                  </a:lnTo>
                  <a:lnTo>
                    <a:pt x="209" y="909"/>
                  </a:lnTo>
                  <a:lnTo>
                    <a:pt x="190" y="945"/>
                  </a:lnTo>
                  <a:lnTo>
                    <a:pt x="171" y="983"/>
                  </a:lnTo>
                  <a:lnTo>
                    <a:pt x="153" y="1021"/>
                  </a:lnTo>
                  <a:lnTo>
                    <a:pt x="136" y="1060"/>
                  </a:lnTo>
                  <a:lnTo>
                    <a:pt x="120" y="1099"/>
                  </a:lnTo>
                  <a:lnTo>
                    <a:pt x="105" y="1138"/>
                  </a:lnTo>
                  <a:lnTo>
                    <a:pt x="91" y="1179"/>
                  </a:lnTo>
                  <a:lnTo>
                    <a:pt x="79" y="1219"/>
                  </a:lnTo>
                  <a:lnTo>
                    <a:pt x="66" y="1260"/>
                  </a:lnTo>
                  <a:lnTo>
                    <a:pt x="55" y="1301"/>
                  </a:lnTo>
                  <a:lnTo>
                    <a:pt x="45" y="1344"/>
                  </a:lnTo>
                  <a:lnTo>
                    <a:pt x="35" y="1385"/>
                  </a:lnTo>
                  <a:lnTo>
                    <a:pt x="28" y="1428"/>
                  </a:lnTo>
                  <a:lnTo>
                    <a:pt x="20" y="1471"/>
                  </a:lnTo>
                  <a:lnTo>
                    <a:pt x="14" y="1514"/>
                  </a:lnTo>
                  <a:lnTo>
                    <a:pt x="10" y="1558"/>
                  </a:lnTo>
                  <a:lnTo>
                    <a:pt x="5" y="1601"/>
                  </a:lnTo>
                  <a:lnTo>
                    <a:pt x="2" y="1646"/>
                  </a:lnTo>
                  <a:lnTo>
                    <a:pt x="1" y="1690"/>
                  </a:lnTo>
                  <a:lnTo>
                    <a:pt x="0" y="1735"/>
                  </a:lnTo>
                  <a:lnTo>
                    <a:pt x="1" y="1773"/>
                  </a:lnTo>
                  <a:lnTo>
                    <a:pt x="2" y="1813"/>
                  </a:lnTo>
                  <a:lnTo>
                    <a:pt x="4" y="1851"/>
                  </a:lnTo>
                  <a:lnTo>
                    <a:pt x="7" y="1889"/>
                  </a:lnTo>
                  <a:lnTo>
                    <a:pt x="11" y="1928"/>
                  </a:lnTo>
                  <a:lnTo>
                    <a:pt x="15" y="1965"/>
                  </a:lnTo>
                  <a:lnTo>
                    <a:pt x="21" y="2002"/>
                  </a:lnTo>
                  <a:lnTo>
                    <a:pt x="27" y="2039"/>
                  </a:lnTo>
                  <a:lnTo>
                    <a:pt x="34" y="2077"/>
                  </a:lnTo>
                  <a:lnTo>
                    <a:pt x="41" y="2114"/>
                  </a:lnTo>
                  <a:lnTo>
                    <a:pt x="50" y="2150"/>
                  </a:lnTo>
                  <a:lnTo>
                    <a:pt x="59" y="2186"/>
                  </a:lnTo>
                  <a:lnTo>
                    <a:pt x="69" y="2221"/>
                  </a:lnTo>
                  <a:lnTo>
                    <a:pt x="80" y="2257"/>
                  </a:lnTo>
                  <a:lnTo>
                    <a:pt x="91" y="2292"/>
                  </a:lnTo>
                  <a:lnTo>
                    <a:pt x="104" y="2327"/>
                  </a:lnTo>
                  <a:lnTo>
                    <a:pt x="117" y="2362"/>
                  </a:lnTo>
                  <a:lnTo>
                    <a:pt x="130" y="2396"/>
                  </a:lnTo>
                  <a:lnTo>
                    <a:pt x="144" y="2430"/>
                  </a:lnTo>
                  <a:lnTo>
                    <a:pt x="159" y="2463"/>
                  </a:lnTo>
                  <a:lnTo>
                    <a:pt x="175" y="2496"/>
                  </a:lnTo>
                  <a:lnTo>
                    <a:pt x="192" y="2529"/>
                  </a:lnTo>
                  <a:lnTo>
                    <a:pt x="209" y="2561"/>
                  </a:lnTo>
                  <a:lnTo>
                    <a:pt x="226" y="2592"/>
                  </a:lnTo>
                  <a:lnTo>
                    <a:pt x="244" y="2623"/>
                  </a:lnTo>
                  <a:lnTo>
                    <a:pt x="263" y="2655"/>
                  </a:lnTo>
                  <a:lnTo>
                    <a:pt x="283" y="2685"/>
                  </a:lnTo>
                  <a:lnTo>
                    <a:pt x="303" y="2716"/>
                  </a:lnTo>
                  <a:lnTo>
                    <a:pt x="323" y="2745"/>
                  </a:lnTo>
                  <a:lnTo>
                    <a:pt x="345" y="2774"/>
                  </a:lnTo>
                  <a:lnTo>
                    <a:pt x="367" y="2803"/>
                  </a:lnTo>
                  <a:lnTo>
                    <a:pt x="389" y="2831"/>
                  </a:lnTo>
                  <a:lnTo>
                    <a:pt x="412" y="2859"/>
                  </a:lnTo>
                  <a:lnTo>
                    <a:pt x="436" y="2886"/>
                  </a:lnTo>
                  <a:lnTo>
                    <a:pt x="460" y="2913"/>
                  </a:lnTo>
                  <a:lnTo>
                    <a:pt x="486" y="2939"/>
                  </a:lnTo>
                  <a:lnTo>
                    <a:pt x="511" y="2965"/>
                  </a:lnTo>
                  <a:lnTo>
                    <a:pt x="536" y="2990"/>
                  </a:lnTo>
                  <a:lnTo>
                    <a:pt x="563" y="3015"/>
                  </a:lnTo>
                  <a:lnTo>
                    <a:pt x="589" y="3039"/>
                  </a:lnTo>
                  <a:lnTo>
                    <a:pt x="617" y="3063"/>
                  </a:lnTo>
                  <a:lnTo>
                    <a:pt x="645" y="3086"/>
                  </a:lnTo>
                  <a:lnTo>
                    <a:pt x="673" y="3108"/>
                  </a:lnTo>
                  <a:lnTo>
                    <a:pt x="702" y="3130"/>
                  </a:lnTo>
                  <a:lnTo>
                    <a:pt x="730" y="3151"/>
                  </a:lnTo>
                  <a:lnTo>
                    <a:pt x="760" y="3172"/>
                  </a:lnTo>
                  <a:lnTo>
                    <a:pt x="791" y="3191"/>
                  </a:lnTo>
                  <a:lnTo>
                    <a:pt x="822" y="3211"/>
                  </a:lnTo>
                  <a:lnTo>
                    <a:pt x="852" y="3230"/>
                  </a:lnTo>
                  <a:lnTo>
                    <a:pt x="884" y="3248"/>
                  </a:lnTo>
                  <a:lnTo>
                    <a:pt x="916" y="3266"/>
                  </a:lnTo>
                  <a:lnTo>
                    <a:pt x="948" y="3283"/>
                  </a:lnTo>
                  <a:lnTo>
                    <a:pt x="981" y="3299"/>
                  </a:lnTo>
                  <a:lnTo>
                    <a:pt x="1014" y="3314"/>
                  </a:lnTo>
                  <a:lnTo>
                    <a:pt x="1046" y="3328"/>
                  </a:lnTo>
                  <a:lnTo>
                    <a:pt x="1080" y="3343"/>
                  </a:lnTo>
                  <a:lnTo>
                    <a:pt x="1114" y="3356"/>
                  </a:lnTo>
                  <a:lnTo>
                    <a:pt x="1149" y="3369"/>
                  </a:lnTo>
                  <a:lnTo>
                    <a:pt x="1184" y="3382"/>
                  </a:lnTo>
                  <a:lnTo>
                    <a:pt x="1219" y="3392"/>
                  </a:lnTo>
                  <a:lnTo>
                    <a:pt x="1254" y="3403"/>
                  </a:lnTo>
                  <a:lnTo>
                    <a:pt x="1290" y="3412"/>
                  </a:lnTo>
                  <a:lnTo>
                    <a:pt x="1326" y="3422"/>
                  </a:lnTo>
                  <a:lnTo>
                    <a:pt x="1362" y="3431"/>
                  </a:lnTo>
                  <a:lnTo>
                    <a:pt x="1362" y="1873"/>
                  </a:lnTo>
                  <a:lnTo>
                    <a:pt x="1365" y="1847"/>
                  </a:lnTo>
                  <a:lnTo>
                    <a:pt x="1374" y="1821"/>
                  </a:lnTo>
                  <a:lnTo>
                    <a:pt x="1387" y="1798"/>
                  </a:lnTo>
                  <a:lnTo>
                    <a:pt x="1403" y="1778"/>
                  </a:lnTo>
                  <a:lnTo>
                    <a:pt x="1423" y="1761"/>
                  </a:lnTo>
                  <a:lnTo>
                    <a:pt x="1446" y="1748"/>
                  </a:lnTo>
                  <a:lnTo>
                    <a:pt x="1470" y="1739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691" y="1735"/>
                  </a:lnTo>
                  <a:lnTo>
                    <a:pt x="1697" y="1735"/>
                  </a:lnTo>
                  <a:lnTo>
                    <a:pt x="1704" y="1735"/>
                  </a:lnTo>
                  <a:lnTo>
                    <a:pt x="1711" y="1735"/>
                  </a:lnTo>
                  <a:lnTo>
                    <a:pt x="1719" y="1734"/>
                  </a:lnTo>
                  <a:lnTo>
                    <a:pt x="1723" y="1733"/>
                  </a:lnTo>
                  <a:lnTo>
                    <a:pt x="1727" y="1732"/>
                  </a:lnTo>
                  <a:lnTo>
                    <a:pt x="1730" y="1729"/>
                  </a:lnTo>
                  <a:lnTo>
                    <a:pt x="1732" y="1727"/>
                  </a:lnTo>
                  <a:lnTo>
                    <a:pt x="1733" y="1724"/>
                  </a:lnTo>
                  <a:lnTo>
                    <a:pt x="1734" y="1720"/>
                  </a:lnTo>
                  <a:lnTo>
                    <a:pt x="1734" y="1717"/>
                  </a:lnTo>
                  <a:lnTo>
                    <a:pt x="1735" y="0"/>
                  </a:lnTo>
                  <a:close/>
                  <a:moveTo>
                    <a:pt x="1398" y="1431"/>
                  </a:moveTo>
                  <a:lnTo>
                    <a:pt x="1376" y="1430"/>
                  </a:lnTo>
                  <a:lnTo>
                    <a:pt x="1355" y="1427"/>
                  </a:lnTo>
                  <a:lnTo>
                    <a:pt x="1334" y="1421"/>
                  </a:lnTo>
                  <a:lnTo>
                    <a:pt x="1314" y="1414"/>
                  </a:lnTo>
                  <a:lnTo>
                    <a:pt x="1296" y="1404"/>
                  </a:lnTo>
                  <a:lnTo>
                    <a:pt x="1277" y="1394"/>
                  </a:lnTo>
                  <a:lnTo>
                    <a:pt x="1269" y="1387"/>
                  </a:lnTo>
                  <a:lnTo>
                    <a:pt x="1261" y="1381"/>
                  </a:lnTo>
                  <a:lnTo>
                    <a:pt x="1253" y="1375"/>
                  </a:lnTo>
                  <a:lnTo>
                    <a:pt x="1246" y="1367"/>
                  </a:lnTo>
                  <a:lnTo>
                    <a:pt x="1238" y="1360"/>
                  </a:lnTo>
                  <a:lnTo>
                    <a:pt x="1231" y="1352"/>
                  </a:lnTo>
                  <a:lnTo>
                    <a:pt x="1224" y="1344"/>
                  </a:lnTo>
                  <a:lnTo>
                    <a:pt x="1219" y="1335"/>
                  </a:lnTo>
                  <a:lnTo>
                    <a:pt x="1209" y="1317"/>
                  </a:lnTo>
                  <a:lnTo>
                    <a:pt x="1199" y="1298"/>
                  </a:lnTo>
                  <a:lnTo>
                    <a:pt x="1192" y="1279"/>
                  </a:lnTo>
                  <a:lnTo>
                    <a:pt x="1186" y="1258"/>
                  </a:lnTo>
                  <a:lnTo>
                    <a:pt x="1183" y="1236"/>
                  </a:lnTo>
                  <a:lnTo>
                    <a:pt x="1182" y="1214"/>
                  </a:lnTo>
                  <a:lnTo>
                    <a:pt x="1183" y="1192"/>
                  </a:lnTo>
                  <a:lnTo>
                    <a:pt x="1186" y="1170"/>
                  </a:lnTo>
                  <a:lnTo>
                    <a:pt x="1192" y="1149"/>
                  </a:lnTo>
                  <a:lnTo>
                    <a:pt x="1199" y="1130"/>
                  </a:lnTo>
                  <a:lnTo>
                    <a:pt x="1209" y="1111"/>
                  </a:lnTo>
                  <a:lnTo>
                    <a:pt x="1219" y="1093"/>
                  </a:lnTo>
                  <a:lnTo>
                    <a:pt x="1224" y="1084"/>
                  </a:lnTo>
                  <a:lnTo>
                    <a:pt x="1231" y="1076"/>
                  </a:lnTo>
                  <a:lnTo>
                    <a:pt x="1238" y="1068"/>
                  </a:lnTo>
                  <a:lnTo>
                    <a:pt x="1246" y="1061"/>
                  </a:lnTo>
                  <a:lnTo>
                    <a:pt x="1253" y="1053"/>
                  </a:lnTo>
                  <a:lnTo>
                    <a:pt x="1261" y="1047"/>
                  </a:lnTo>
                  <a:lnTo>
                    <a:pt x="1269" y="1041"/>
                  </a:lnTo>
                  <a:lnTo>
                    <a:pt x="1277" y="1034"/>
                  </a:lnTo>
                  <a:lnTo>
                    <a:pt x="1296" y="1024"/>
                  </a:lnTo>
                  <a:lnTo>
                    <a:pt x="1314" y="1014"/>
                  </a:lnTo>
                  <a:lnTo>
                    <a:pt x="1334" y="1007"/>
                  </a:lnTo>
                  <a:lnTo>
                    <a:pt x="1355" y="1001"/>
                  </a:lnTo>
                  <a:lnTo>
                    <a:pt x="1376" y="998"/>
                  </a:lnTo>
                  <a:lnTo>
                    <a:pt x="1398" y="997"/>
                  </a:lnTo>
                  <a:lnTo>
                    <a:pt x="1421" y="998"/>
                  </a:lnTo>
                  <a:lnTo>
                    <a:pt x="1442" y="1001"/>
                  </a:lnTo>
                  <a:lnTo>
                    <a:pt x="1462" y="1007"/>
                  </a:lnTo>
                  <a:lnTo>
                    <a:pt x="1482" y="1014"/>
                  </a:lnTo>
                  <a:lnTo>
                    <a:pt x="1501" y="1024"/>
                  </a:lnTo>
                  <a:lnTo>
                    <a:pt x="1519" y="1034"/>
                  </a:lnTo>
                  <a:lnTo>
                    <a:pt x="1528" y="1041"/>
                  </a:lnTo>
                  <a:lnTo>
                    <a:pt x="1535" y="1047"/>
                  </a:lnTo>
                  <a:lnTo>
                    <a:pt x="1544" y="1053"/>
                  </a:lnTo>
                  <a:lnTo>
                    <a:pt x="1551" y="1061"/>
                  </a:lnTo>
                  <a:lnTo>
                    <a:pt x="1558" y="1068"/>
                  </a:lnTo>
                  <a:lnTo>
                    <a:pt x="1565" y="1076"/>
                  </a:lnTo>
                  <a:lnTo>
                    <a:pt x="1571" y="1084"/>
                  </a:lnTo>
                  <a:lnTo>
                    <a:pt x="1578" y="1093"/>
                  </a:lnTo>
                  <a:lnTo>
                    <a:pt x="1588" y="1111"/>
                  </a:lnTo>
                  <a:lnTo>
                    <a:pt x="1598" y="1130"/>
                  </a:lnTo>
                  <a:lnTo>
                    <a:pt x="1604" y="1149"/>
                  </a:lnTo>
                  <a:lnTo>
                    <a:pt x="1609" y="1170"/>
                  </a:lnTo>
                  <a:lnTo>
                    <a:pt x="1614" y="1192"/>
                  </a:lnTo>
                  <a:lnTo>
                    <a:pt x="1615" y="1214"/>
                  </a:lnTo>
                  <a:lnTo>
                    <a:pt x="1614" y="1236"/>
                  </a:lnTo>
                  <a:lnTo>
                    <a:pt x="1609" y="1258"/>
                  </a:lnTo>
                  <a:lnTo>
                    <a:pt x="1604" y="1279"/>
                  </a:lnTo>
                  <a:lnTo>
                    <a:pt x="1598" y="1298"/>
                  </a:lnTo>
                  <a:lnTo>
                    <a:pt x="1588" y="1317"/>
                  </a:lnTo>
                  <a:lnTo>
                    <a:pt x="1578" y="1335"/>
                  </a:lnTo>
                  <a:lnTo>
                    <a:pt x="1571" y="1344"/>
                  </a:lnTo>
                  <a:lnTo>
                    <a:pt x="1565" y="1352"/>
                  </a:lnTo>
                  <a:lnTo>
                    <a:pt x="1558" y="1360"/>
                  </a:lnTo>
                  <a:lnTo>
                    <a:pt x="1551" y="1367"/>
                  </a:lnTo>
                  <a:lnTo>
                    <a:pt x="1544" y="1375"/>
                  </a:lnTo>
                  <a:lnTo>
                    <a:pt x="1535" y="1381"/>
                  </a:lnTo>
                  <a:lnTo>
                    <a:pt x="1528" y="1387"/>
                  </a:lnTo>
                  <a:lnTo>
                    <a:pt x="1519" y="1394"/>
                  </a:lnTo>
                  <a:lnTo>
                    <a:pt x="1501" y="1404"/>
                  </a:lnTo>
                  <a:lnTo>
                    <a:pt x="1482" y="1414"/>
                  </a:lnTo>
                  <a:lnTo>
                    <a:pt x="1462" y="1421"/>
                  </a:lnTo>
                  <a:lnTo>
                    <a:pt x="1442" y="1427"/>
                  </a:lnTo>
                  <a:lnTo>
                    <a:pt x="1421" y="1430"/>
                  </a:lnTo>
                  <a:lnTo>
                    <a:pt x="1398" y="143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 kern="0" smtClean="0">
                <a:solidFill>
                  <a:prstClr val="black"/>
                </a:solidFill>
                <a:latin typeface="PF DinDisplay Pro" panose="02000506030000020004" pitchFamily="2" charset="0"/>
                <a:sym typeface="PF DinDisplay Pro" panose="02000506030000020004" pitchFamily="2" charset="0"/>
              </a:endParaRPr>
            </a:p>
          </p:txBody>
        </p:sp>
      </p:grpSp>
      <p:sp>
        <p:nvSpPr>
          <p:cNvPr id="34" name="Заголовок 1"/>
          <p:cNvSpPr>
            <a:spLocks noGrp="1"/>
          </p:cNvSpPr>
          <p:nvPr>
            <p:ph type="title"/>
          </p:nvPr>
        </p:nvSpPr>
        <p:spPr>
          <a:xfrm>
            <a:off x="341778" y="539186"/>
            <a:ext cx="6480382" cy="6364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sz="4000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7591609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" name="Объект 10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33161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3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 vert="horz" wrap="none" lIns="91440" tIns="45720" rIns="91440" bIns="45720" rtlCol="0" anchor="b" anchorCtr="0">
            <a:noAutofit/>
          </a:bodyPr>
          <a:lstStyle>
            <a:lvl1pPr>
              <a:defRPr lang="ru-RU" smtClean="0"/>
            </a:lvl1pPr>
          </a:lstStyle>
          <a:p>
            <a:endParaRPr lang="en-US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000"/>
            </a:lvl1pPr>
          </a:lstStyle>
          <a:p>
            <a:fld id="{98B4E4F1-47F5-42BB-BD7E-414202C1F421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Текст 3" title="comments_placeholder"/>
          <p:cNvSpPr>
            <a:spLocks noGrp="1"/>
          </p:cNvSpPr>
          <p:nvPr>
            <p:ph type="body" sz="quarter" idx="13" hasCustomPrompt="1"/>
          </p:nvPr>
        </p:nvSpPr>
        <p:spPr>
          <a:xfrm>
            <a:off x="342900" y="6330919"/>
            <a:ext cx="7488832" cy="338400"/>
          </a:xfrm>
        </p:spPr>
        <p:txBody>
          <a:bodyPr anchor="b">
            <a:noAutofit/>
          </a:bodyPr>
          <a:lstStyle>
            <a:lvl1pPr marL="0" indent="0" algn="l">
              <a:buNone/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комментари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7358674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" name="Объект 10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39402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3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 vert="horz" wrap="none" lIns="91440" tIns="45720" rIns="91440" bIns="45720" rtlCol="0" anchor="b" anchorCtr="0">
            <a:noAutofit/>
          </a:bodyPr>
          <a:lstStyle>
            <a:lvl1pPr>
              <a:defRPr lang="ru-RU" smtClean="0"/>
            </a:lvl1pPr>
          </a:lstStyle>
          <a:p>
            <a:endParaRPr lang="en-US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000"/>
            </a:lvl1pPr>
          </a:lstStyle>
          <a:p>
            <a:fld id="{98B4E4F1-47F5-42BB-BD7E-414202C1F421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Текст 3" title="comments_placeholder"/>
          <p:cNvSpPr>
            <a:spLocks noGrp="1"/>
          </p:cNvSpPr>
          <p:nvPr>
            <p:ph type="body" sz="quarter" idx="13" hasCustomPrompt="1"/>
          </p:nvPr>
        </p:nvSpPr>
        <p:spPr>
          <a:xfrm>
            <a:off x="342900" y="6330919"/>
            <a:ext cx="7488832" cy="338400"/>
          </a:xfrm>
        </p:spPr>
        <p:txBody>
          <a:bodyPr anchor="b">
            <a:noAutofit/>
          </a:bodyPr>
          <a:lstStyle>
            <a:lvl1pPr marL="0" indent="0" algn="l">
              <a:buNone/>
              <a:defRPr sz="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комментарии</a:t>
            </a:r>
            <a:endParaRPr lang="ru-RU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4254" y="174565"/>
            <a:ext cx="504000" cy="5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050937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93266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9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Title 6"/>
          <p:cNvSpPr>
            <a:spLocks noGrp="1"/>
          </p:cNvSpPr>
          <p:nvPr>
            <p:ph type="title"/>
          </p:nvPr>
        </p:nvSpPr>
        <p:spPr>
          <a:xfrm>
            <a:off x="336593" y="-1"/>
            <a:ext cx="8529265" cy="79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1" name="Slide Number Placeholder 7"/>
          <p:cNvSpPr>
            <a:spLocks noGrp="1"/>
          </p:cNvSpPr>
          <p:nvPr>
            <p:ph type="sldNum" sz="quarter" idx="11"/>
          </p:nvPr>
        </p:nvSpPr>
        <p:spPr>
          <a:xfrm>
            <a:off x="-82669" y="6396271"/>
            <a:ext cx="391084" cy="22995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DCD0E477-84E7-4610-953B-74E0DE15F3DA}" type="slidenum">
              <a:rPr lang="ru-RU" smtClean="0"/>
              <a:pPr/>
              <a:t>‹#›</a:t>
            </a:fld>
            <a:endParaRPr lang="ru-RU" sz="1137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01548" y="6350006"/>
            <a:ext cx="7331865" cy="3367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650">
                <a:solidFill>
                  <a:srgbClr val="A6A6A6"/>
                </a:solidFill>
              </a:defRPr>
            </a:lvl1pPr>
            <a:lvl2pPr>
              <a:defRPr sz="853"/>
            </a:lvl2pPr>
            <a:lvl3pPr>
              <a:defRPr sz="853"/>
            </a:lvl3pPr>
            <a:lvl4pPr>
              <a:defRPr sz="853"/>
            </a:lvl4pPr>
            <a:lvl5pPr>
              <a:defRPr sz="853"/>
            </a:lvl5pPr>
          </a:lstStyle>
          <a:p>
            <a:pPr lvl="0"/>
            <a:r>
              <a:rPr lang="ru-RU" dirty="0" smtClean="0"/>
              <a:t>комментарии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812630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6110569"/>
              </p:ext>
            </p:extLst>
          </p:nvPr>
        </p:nvGraphicFramePr>
        <p:xfrm>
          <a:off x="1700" y="1606"/>
          <a:ext cx="169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8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00" y="1606"/>
                        <a:ext cx="169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2399" y="59976"/>
            <a:ext cx="8279421" cy="549624"/>
          </a:xfrm>
          <a:prstGeom prst="rect">
            <a:avLst/>
          </a:prstGeom>
        </p:spPr>
        <p:txBody>
          <a:bodyPr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518" dirty="0">
                <a:solidFill>
                  <a:srgbClr val="57068C"/>
                </a:solidFill>
                <a:latin typeface="PF DinDisplay Pro" panose="02000506030000020004" pitchFamily="2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8188785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888661560"/>
              </p:ext>
            </p:extLst>
          </p:nvPr>
        </p:nvGraphicFramePr>
        <p:xfrm>
          <a:off x="1732" y="1610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284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732" y="1610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Нижний колонтитул 7"/>
          <p:cNvSpPr>
            <a:spLocks noGrp="1"/>
          </p:cNvSpPr>
          <p:nvPr>
            <p:ph type="ftr" sz="quarter" idx="3"/>
          </p:nvPr>
        </p:nvSpPr>
        <p:spPr>
          <a:xfrm>
            <a:off x="411813" y="6812284"/>
            <a:ext cx="9079200" cy="45719"/>
          </a:xfrm>
          <a:prstGeom prst="rect">
            <a:avLst/>
          </a:prstGeom>
        </p:spPr>
        <p:txBody>
          <a:bodyPr vert="horz" wrap="none" lIns="91440" tIns="45720" rIns="91440" bIns="45720" rtlCol="0" anchor="b" anchorCtr="0">
            <a:noAutofit/>
          </a:bodyPr>
          <a:lstStyle>
            <a:lvl1pPr algn="ctr">
              <a:defRPr sz="600">
                <a:solidFill>
                  <a:srgbClr val="C0C2C4"/>
                </a:solidFill>
                <a:latin typeface="PF DinDisplay Pro" panose="02000506030000020004" pitchFamily="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4"/>
          </p:nvPr>
        </p:nvSpPr>
        <p:spPr>
          <a:xfrm>
            <a:off x="9159632" y="6396272"/>
            <a:ext cx="400292" cy="231873"/>
          </a:xfrm>
          <a:prstGeom prst="rect">
            <a:avLst/>
          </a:prstGeom>
          <a:noFill/>
        </p:spPr>
        <p:txBody>
          <a:bodyPr vert="horz" lIns="0" tIns="45720" rIns="0" bIns="45720" rtlCol="0" anchor="ctr"/>
          <a:lstStyle>
            <a:lvl1pPr marL="0" indent="0" algn="r">
              <a:defRPr sz="900">
                <a:solidFill>
                  <a:srgbClr val="C0C2C4"/>
                </a:solidFill>
                <a:latin typeface="PF DinDisplay Pro" panose="02000506030000020004" pitchFamily="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98B4E4F1-47F5-42BB-BD7E-414202C1F421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6" name="Заголовок 1"/>
          <p:cNvSpPr>
            <a:spLocks noGrp="1"/>
          </p:cNvSpPr>
          <p:nvPr>
            <p:ph type="title"/>
          </p:nvPr>
        </p:nvSpPr>
        <p:spPr>
          <a:xfrm>
            <a:off x="340777" y="0"/>
            <a:ext cx="8532000" cy="93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Образец</a:t>
            </a:r>
            <a:r>
              <a:rPr lang="en-US" dirty="0" smtClean="0"/>
              <a:t> </a:t>
            </a:r>
            <a:r>
              <a:rPr lang="ru-RU" dirty="0" smtClean="0"/>
              <a:t>заголовка</a:t>
            </a:r>
            <a:endParaRPr lang="ru-RU" dirty="0"/>
          </a:p>
        </p:txBody>
      </p:sp>
      <p:grpSp>
        <p:nvGrpSpPr>
          <p:cNvPr id="61" name="Group 16"/>
          <p:cNvGrpSpPr>
            <a:grpSpLocks noChangeAspect="1"/>
          </p:cNvGrpSpPr>
          <p:nvPr/>
        </p:nvGrpSpPr>
        <p:grpSpPr>
          <a:xfrm>
            <a:off x="9154940" y="212209"/>
            <a:ext cx="432085" cy="433584"/>
            <a:chOff x="5176838" y="2511426"/>
            <a:chExt cx="1830388" cy="1836737"/>
          </a:xfrm>
          <a:solidFill>
            <a:srgbClr val="00985F"/>
          </a:solidFill>
        </p:grpSpPr>
        <p:sp>
          <p:nvSpPr>
            <p:cNvPr id="62" name="Freeform 6"/>
            <p:cNvSpPr>
              <a:spLocks noEditPoints="1"/>
            </p:cNvSpPr>
            <p:nvPr/>
          </p:nvSpPr>
          <p:spPr bwMode="auto">
            <a:xfrm>
              <a:off x="6008688" y="2519363"/>
              <a:ext cx="998538" cy="1828800"/>
            </a:xfrm>
            <a:custGeom>
              <a:avLst/>
              <a:gdLst>
                <a:gd name="T0" fmla="*/ 373 w 1888"/>
                <a:gd name="T1" fmla="*/ 1790 h 3457"/>
                <a:gd name="T2" fmla="*/ 372 w 1888"/>
                <a:gd name="T3" fmla="*/ 1790 h 3457"/>
                <a:gd name="T4" fmla="*/ 372 w 1888"/>
                <a:gd name="T5" fmla="*/ 1790 h 3457"/>
                <a:gd name="T6" fmla="*/ 372 w 1888"/>
                <a:gd name="T7" fmla="*/ 1790 h 3457"/>
                <a:gd name="T8" fmla="*/ 283 w 1888"/>
                <a:gd name="T9" fmla="*/ 1921 h 3457"/>
                <a:gd name="T10" fmla="*/ 15 w 1888"/>
                <a:gd name="T11" fmla="*/ 1931 h 3457"/>
                <a:gd name="T12" fmla="*/ 0 w 1888"/>
                <a:gd name="T13" fmla="*/ 1950 h 3457"/>
                <a:gd name="T14" fmla="*/ 336 w 1888"/>
                <a:gd name="T15" fmla="*/ 3447 h 3457"/>
                <a:gd name="T16" fmla="*/ 633 w 1888"/>
                <a:gd name="T17" fmla="*/ 3391 h 3457"/>
                <a:gd name="T18" fmla="*/ 910 w 1888"/>
                <a:gd name="T19" fmla="*/ 3286 h 3457"/>
                <a:gd name="T20" fmla="*/ 1161 w 1888"/>
                <a:gd name="T21" fmla="*/ 3137 h 3457"/>
                <a:gd name="T22" fmla="*/ 1382 w 1888"/>
                <a:gd name="T23" fmla="*/ 2949 h 3457"/>
                <a:gd name="T24" fmla="*/ 1570 w 1888"/>
                <a:gd name="T25" fmla="*/ 2726 h 3457"/>
                <a:gd name="T26" fmla="*/ 1719 w 1888"/>
                <a:gd name="T27" fmla="*/ 2474 h 3457"/>
                <a:gd name="T28" fmla="*/ 1822 w 1888"/>
                <a:gd name="T29" fmla="*/ 2197 h 3457"/>
                <a:gd name="T30" fmla="*/ 1880 w 1888"/>
                <a:gd name="T31" fmla="*/ 1900 h 3457"/>
                <a:gd name="T32" fmla="*/ 1884 w 1888"/>
                <a:gd name="T33" fmla="*/ 1599 h 3457"/>
                <a:gd name="T34" fmla="*/ 1842 w 1888"/>
                <a:gd name="T35" fmla="*/ 1320 h 3457"/>
                <a:gd name="T36" fmla="*/ 1758 w 1888"/>
                <a:gd name="T37" fmla="*/ 1058 h 3457"/>
                <a:gd name="T38" fmla="*/ 1635 w 1888"/>
                <a:gd name="T39" fmla="*/ 816 h 3457"/>
                <a:gd name="T40" fmla="*/ 1477 w 1888"/>
                <a:gd name="T41" fmla="*/ 598 h 3457"/>
                <a:gd name="T42" fmla="*/ 1287 w 1888"/>
                <a:gd name="T43" fmla="*/ 407 h 3457"/>
                <a:gd name="T44" fmla="*/ 1071 w 1888"/>
                <a:gd name="T45" fmla="*/ 247 h 3457"/>
                <a:gd name="T46" fmla="*/ 830 w 1888"/>
                <a:gd name="T47" fmla="*/ 122 h 3457"/>
                <a:gd name="T48" fmla="*/ 569 w 1888"/>
                <a:gd name="T49" fmla="*/ 36 h 3457"/>
                <a:gd name="T50" fmla="*/ 337 w 1888"/>
                <a:gd name="T51" fmla="*/ 2668 h 3457"/>
                <a:gd name="T52" fmla="*/ 209 w 1888"/>
                <a:gd name="T53" fmla="*/ 2625 h 3457"/>
                <a:gd name="T54" fmla="*/ 158 w 1888"/>
                <a:gd name="T55" fmla="*/ 2573 h 3457"/>
                <a:gd name="T56" fmla="*/ 123 w 1888"/>
                <a:gd name="T57" fmla="*/ 2429 h 3457"/>
                <a:gd name="T58" fmla="*/ 171 w 1888"/>
                <a:gd name="T59" fmla="*/ 2314 h 3457"/>
                <a:gd name="T60" fmla="*/ 234 w 1888"/>
                <a:gd name="T61" fmla="*/ 2260 h 3457"/>
                <a:gd name="T62" fmla="*/ 382 w 1888"/>
                <a:gd name="T63" fmla="*/ 2239 h 3457"/>
                <a:gd name="T64" fmla="*/ 484 w 1888"/>
                <a:gd name="T65" fmla="*/ 2291 h 3457"/>
                <a:gd name="T66" fmla="*/ 538 w 1888"/>
                <a:gd name="T67" fmla="*/ 2367 h 3457"/>
                <a:gd name="T68" fmla="*/ 545 w 1888"/>
                <a:gd name="T69" fmla="*/ 2516 h 3457"/>
                <a:gd name="T70" fmla="*/ 491 w 1888"/>
                <a:gd name="T71" fmla="*/ 2605 h 3457"/>
                <a:gd name="T72" fmla="*/ 402 w 1888"/>
                <a:gd name="T73" fmla="*/ 2658 h 3457"/>
                <a:gd name="T74" fmla="*/ 780 w 1888"/>
                <a:gd name="T75" fmla="*/ 2658 h 3457"/>
                <a:gd name="T76" fmla="*/ 692 w 1888"/>
                <a:gd name="T77" fmla="*/ 2605 h 3457"/>
                <a:gd name="T78" fmla="*/ 638 w 1888"/>
                <a:gd name="T79" fmla="*/ 2516 h 3457"/>
                <a:gd name="T80" fmla="*/ 646 w 1888"/>
                <a:gd name="T81" fmla="*/ 2367 h 3457"/>
                <a:gd name="T82" fmla="*/ 700 w 1888"/>
                <a:gd name="T83" fmla="*/ 2291 h 3457"/>
                <a:gd name="T84" fmla="*/ 802 w 1888"/>
                <a:gd name="T85" fmla="*/ 2239 h 3457"/>
                <a:gd name="T86" fmla="*/ 948 w 1888"/>
                <a:gd name="T87" fmla="*/ 2260 h 3457"/>
                <a:gd name="T88" fmla="*/ 1011 w 1888"/>
                <a:gd name="T89" fmla="*/ 2314 h 3457"/>
                <a:gd name="T90" fmla="*/ 1059 w 1888"/>
                <a:gd name="T91" fmla="*/ 2429 h 3457"/>
                <a:gd name="T92" fmla="*/ 1024 w 1888"/>
                <a:gd name="T93" fmla="*/ 2573 h 3457"/>
                <a:gd name="T94" fmla="*/ 973 w 1888"/>
                <a:gd name="T95" fmla="*/ 2625 h 3457"/>
                <a:gd name="T96" fmla="*/ 844 w 1888"/>
                <a:gd name="T97" fmla="*/ 2668 h 3457"/>
                <a:gd name="T98" fmla="*/ 1230 w 1888"/>
                <a:gd name="T99" fmla="*/ 2632 h 3457"/>
                <a:gd name="T100" fmla="*/ 1178 w 1888"/>
                <a:gd name="T101" fmla="*/ 2582 h 3457"/>
                <a:gd name="T102" fmla="*/ 1135 w 1888"/>
                <a:gd name="T103" fmla="*/ 2452 h 3457"/>
                <a:gd name="T104" fmla="*/ 1178 w 1888"/>
                <a:gd name="T105" fmla="*/ 2322 h 3457"/>
                <a:gd name="T106" fmla="*/ 1230 w 1888"/>
                <a:gd name="T107" fmla="*/ 2272 h 3457"/>
                <a:gd name="T108" fmla="*/ 1373 w 1888"/>
                <a:gd name="T109" fmla="*/ 2236 h 3457"/>
                <a:gd name="T110" fmla="*/ 1488 w 1888"/>
                <a:gd name="T111" fmla="*/ 2284 h 3457"/>
                <a:gd name="T112" fmla="*/ 1542 w 1888"/>
                <a:gd name="T113" fmla="*/ 2349 h 3457"/>
                <a:gd name="T114" fmla="*/ 1563 w 1888"/>
                <a:gd name="T115" fmla="*/ 2495 h 3457"/>
                <a:gd name="T116" fmla="*/ 1511 w 1888"/>
                <a:gd name="T117" fmla="*/ 2598 h 3457"/>
                <a:gd name="T118" fmla="*/ 1435 w 1888"/>
                <a:gd name="T119" fmla="*/ 2651 h 3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888" h="3457">
                  <a:moveTo>
                    <a:pt x="373" y="1790"/>
                  </a:move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0" y="1815"/>
                  </a:lnTo>
                  <a:lnTo>
                    <a:pt x="364" y="1838"/>
                  </a:lnTo>
                  <a:lnTo>
                    <a:pt x="353" y="1859"/>
                  </a:lnTo>
                  <a:lnTo>
                    <a:pt x="340" y="1878"/>
                  </a:lnTo>
                  <a:lnTo>
                    <a:pt x="323" y="1896"/>
                  </a:lnTo>
                  <a:lnTo>
                    <a:pt x="304" y="1910"/>
                  </a:lnTo>
                  <a:lnTo>
                    <a:pt x="283" y="1921"/>
                  </a:lnTo>
                  <a:lnTo>
                    <a:pt x="260" y="1927"/>
                  </a:lnTo>
                  <a:lnTo>
                    <a:pt x="241" y="1931"/>
                  </a:lnTo>
                  <a:lnTo>
                    <a:pt x="221" y="1931"/>
                  </a:lnTo>
                  <a:lnTo>
                    <a:pt x="202" y="1931"/>
                  </a:lnTo>
                  <a:lnTo>
                    <a:pt x="182" y="1931"/>
                  </a:lnTo>
                  <a:lnTo>
                    <a:pt x="19" y="1931"/>
                  </a:lnTo>
                  <a:lnTo>
                    <a:pt x="15" y="1931"/>
                  </a:lnTo>
                  <a:lnTo>
                    <a:pt x="12" y="1932"/>
                  </a:lnTo>
                  <a:lnTo>
                    <a:pt x="9" y="1934"/>
                  </a:lnTo>
                  <a:lnTo>
                    <a:pt x="5" y="1936"/>
                  </a:lnTo>
                  <a:lnTo>
                    <a:pt x="3" y="1939"/>
                  </a:lnTo>
                  <a:lnTo>
                    <a:pt x="1" y="1942"/>
                  </a:lnTo>
                  <a:lnTo>
                    <a:pt x="0" y="1945"/>
                  </a:lnTo>
                  <a:lnTo>
                    <a:pt x="0" y="1950"/>
                  </a:lnTo>
                  <a:lnTo>
                    <a:pt x="0" y="3449"/>
                  </a:lnTo>
                  <a:lnTo>
                    <a:pt x="80" y="3455"/>
                  </a:lnTo>
                  <a:lnTo>
                    <a:pt x="159" y="3457"/>
                  </a:lnTo>
                  <a:lnTo>
                    <a:pt x="205" y="3456"/>
                  </a:lnTo>
                  <a:lnTo>
                    <a:pt x="248" y="3455"/>
                  </a:lnTo>
                  <a:lnTo>
                    <a:pt x="293" y="3452"/>
                  </a:lnTo>
                  <a:lnTo>
                    <a:pt x="336" y="3447"/>
                  </a:lnTo>
                  <a:lnTo>
                    <a:pt x="380" y="3443"/>
                  </a:lnTo>
                  <a:lnTo>
                    <a:pt x="423" y="3437"/>
                  </a:lnTo>
                  <a:lnTo>
                    <a:pt x="465" y="3429"/>
                  </a:lnTo>
                  <a:lnTo>
                    <a:pt x="508" y="3422"/>
                  </a:lnTo>
                  <a:lnTo>
                    <a:pt x="550" y="3412"/>
                  </a:lnTo>
                  <a:lnTo>
                    <a:pt x="592" y="3403"/>
                  </a:lnTo>
                  <a:lnTo>
                    <a:pt x="633" y="3391"/>
                  </a:lnTo>
                  <a:lnTo>
                    <a:pt x="673" y="3379"/>
                  </a:lnTo>
                  <a:lnTo>
                    <a:pt x="715" y="3365"/>
                  </a:lnTo>
                  <a:lnTo>
                    <a:pt x="754" y="3352"/>
                  </a:lnTo>
                  <a:lnTo>
                    <a:pt x="794" y="3337"/>
                  </a:lnTo>
                  <a:lnTo>
                    <a:pt x="832" y="3321"/>
                  </a:lnTo>
                  <a:lnTo>
                    <a:pt x="872" y="3304"/>
                  </a:lnTo>
                  <a:lnTo>
                    <a:pt x="910" y="3286"/>
                  </a:lnTo>
                  <a:lnTo>
                    <a:pt x="947" y="3267"/>
                  </a:lnTo>
                  <a:lnTo>
                    <a:pt x="984" y="3247"/>
                  </a:lnTo>
                  <a:lnTo>
                    <a:pt x="1020" y="3227"/>
                  </a:lnTo>
                  <a:lnTo>
                    <a:pt x="1056" y="3206"/>
                  </a:lnTo>
                  <a:lnTo>
                    <a:pt x="1092" y="3184"/>
                  </a:lnTo>
                  <a:lnTo>
                    <a:pt x="1126" y="3160"/>
                  </a:lnTo>
                  <a:lnTo>
                    <a:pt x="1161" y="3137"/>
                  </a:lnTo>
                  <a:lnTo>
                    <a:pt x="1194" y="3112"/>
                  </a:lnTo>
                  <a:lnTo>
                    <a:pt x="1227" y="3087"/>
                  </a:lnTo>
                  <a:lnTo>
                    <a:pt x="1260" y="3060"/>
                  </a:lnTo>
                  <a:lnTo>
                    <a:pt x="1291" y="3034"/>
                  </a:lnTo>
                  <a:lnTo>
                    <a:pt x="1322" y="3006"/>
                  </a:lnTo>
                  <a:lnTo>
                    <a:pt x="1353" y="2977"/>
                  </a:lnTo>
                  <a:lnTo>
                    <a:pt x="1382" y="2949"/>
                  </a:lnTo>
                  <a:lnTo>
                    <a:pt x="1411" y="2919"/>
                  </a:lnTo>
                  <a:lnTo>
                    <a:pt x="1440" y="2889"/>
                  </a:lnTo>
                  <a:lnTo>
                    <a:pt x="1467" y="2857"/>
                  </a:lnTo>
                  <a:lnTo>
                    <a:pt x="1494" y="2825"/>
                  </a:lnTo>
                  <a:lnTo>
                    <a:pt x="1520" y="2793"/>
                  </a:lnTo>
                  <a:lnTo>
                    <a:pt x="1545" y="2760"/>
                  </a:lnTo>
                  <a:lnTo>
                    <a:pt x="1570" y="2726"/>
                  </a:lnTo>
                  <a:lnTo>
                    <a:pt x="1593" y="2692"/>
                  </a:lnTo>
                  <a:lnTo>
                    <a:pt x="1616" y="2657"/>
                  </a:lnTo>
                  <a:lnTo>
                    <a:pt x="1638" y="2622"/>
                  </a:lnTo>
                  <a:lnTo>
                    <a:pt x="1659" y="2586"/>
                  </a:lnTo>
                  <a:lnTo>
                    <a:pt x="1680" y="2549"/>
                  </a:lnTo>
                  <a:lnTo>
                    <a:pt x="1699" y="2511"/>
                  </a:lnTo>
                  <a:lnTo>
                    <a:pt x="1719" y="2474"/>
                  </a:lnTo>
                  <a:lnTo>
                    <a:pt x="1736" y="2436"/>
                  </a:lnTo>
                  <a:lnTo>
                    <a:pt x="1752" y="2398"/>
                  </a:lnTo>
                  <a:lnTo>
                    <a:pt x="1768" y="2358"/>
                  </a:lnTo>
                  <a:lnTo>
                    <a:pt x="1783" y="2319"/>
                  </a:lnTo>
                  <a:lnTo>
                    <a:pt x="1798" y="2278"/>
                  </a:lnTo>
                  <a:lnTo>
                    <a:pt x="1811" y="2238"/>
                  </a:lnTo>
                  <a:lnTo>
                    <a:pt x="1822" y="2197"/>
                  </a:lnTo>
                  <a:lnTo>
                    <a:pt x="1834" y="2155"/>
                  </a:lnTo>
                  <a:lnTo>
                    <a:pt x="1845" y="2114"/>
                  </a:lnTo>
                  <a:lnTo>
                    <a:pt x="1853" y="2072"/>
                  </a:lnTo>
                  <a:lnTo>
                    <a:pt x="1862" y="2030"/>
                  </a:lnTo>
                  <a:lnTo>
                    <a:pt x="1869" y="1986"/>
                  </a:lnTo>
                  <a:lnTo>
                    <a:pt x="1874" y="1943"/>
                  </a:lnTo>
                  <a:lnTo>
                    <a:pt x="1880" y="1900"/>
                  </a:lnTo>
                  <a:lnTo>
                    <a:pt x="1884" y="1855"/>
                  </a:lnTo>
                  <a:lnTo>
                    <a:pt x="1886" y="1811"/>
                  </a:lnTo>
                  <a:lnTo>
                    <a:pt x="1888" y="1767"/>
                  </a:lnTo>
                  <a:lnTo>
                    <a:pt x="1888" y="1722"/>
                  </a:lnTo>
                  <a:lnTo>
                    <a:pt x="1888" y="1681"/>
                  </a:lnTo>
                  <a:lnTo>
                    <a:pt x="1887" y="1639"/>
                  </a:lnTo>
                  <a:lnTo>
                    <a:pt x="1884" y="1599"/>
                  </a:lnTo>
                  <a:lnTo>
                    <a:pt x="1881" y="1558"/>
                  </a:lnTo>
                  <a:lnTo>
                    <a:pt x="1876" y="1518"/>
                  </a:lnTo>
                  <a:lnTo>
                    <a:pt x="1871" y="1477"/>
                  </a:lnTo>
                  <a:lnTo>
                    <a:pt x="1866" y="1438"/>
                  </a:lnTo>
                  <a:lnTo>
                    <a:pt x="1858" y="1398"/>
                  </a:lnTo>
                  <a:lnTo>
                    <a:pt x="1851" y="1359"/>
                  </a:lnTo>
                  <a:lnTo>
                    <a:pt x="1842" y="1320"/>
                  </a:lnTo>
                  <a:lnTo>
                    <a:pt x="1832" y="1282"/>
                  </a:lnTo>
                  <a:lnTo>
                    <a:pt x="1821" y="1243"/>
                  </a:lnTo>
                  <a:lnTo>
                    <a:pt x="1811" y="1205"/>
                  </a:lnTo>
                  <a:lnTo>
                    <a:pt x="1798" y="1168"/>
                  </a:lnTo>
                  <a:lnTo>
                    <a:pt x="1785" y="1131"/>
                  </a:lnTo>
                  <a:lnTo>
                    <a:pt x="1772" y="1095"/>
                  </a:lnTo>
                  <a:lnTo>
                    <a:pt x="1758" y="1058"/>
                  </a:lnTo>
                  <a:lnTo>
                    <a:pt x="1742" y="1022"/>
                  </a:lnTo>
                  <a:lnTo>
                    <a:pt x="1726" y="987"/>
                  </a:lnTo>
                  <a:lnTo>
                    <a:pt x="1709" y="952"/>
                  </a:lnTo>
                  <a:lnTo>
                    <a:pt x="1691" y="917"/>
                  </a:lnTo>
                  <a:lnTo>
                    <a:pt x="1673" y="883"/>
                  </a:lnTo>
                  <a:lnTo>
                    <a:pt x="1654" y="849"/>
                  </a:lnTo>
                  <a:lnTo>
                    <a:pt x="1635" y="816"/>
                  </a:lnTo>
                  <a:lnTo>
                    <a:pt x="1614" y="783"/>
                  </a:lnTo>
                  <a:lnTo>
                    <a:pt x="1592" y="751"/>
                  </a:lnTo>
                  <a:lnTo>
                    <a:pt x="1570" y="719"/>
                  </a:lnTo>
                  <a:lnTo>
                    <a:pt x="1548" y="688"/>
                  </a:lnTo>
                  <a:lnTo>
                    <a:pt x="1525" y="657"/>
                  </a:lnTo>
                  <a:lnTo>
                    <a:pt x="1501" y="628"/>
                  </a:lnTo>
                  <a:lnTo>
                    <a:pt x="1477" y="598"/>
                  </a:lnTo>
                  <a:lnTo>
                    <a:pt x="1451" y="569"/>
                  </a:lnTo>
                  <a:lnTo>
                    <a:pt x="1425" y="540"/>
                  </a:lnTo>
                  <a:lnTo>
                    <a:pt x="1398" y="513"/>
                  </a:lnTo>
                  <a:lnTo>
                    <a:pt x="1372" y="485"/>
                  </a:lnTo>
                  <a:lnTo>
                    <a:pt x="1344" y="459"/>
                  </a:lnTo>
                  <a:lnTo>
                    <a:pt x="1316" y="432"/>
                  </a:lnTo>
                  <a:lnTo>
                    <a:pt x="1287" y="407"/>
                  </a:lnTo>
                  <a:lnTo>
                    <a:pt x="1257" y="382"/>
                  </a:lnTo>
                  <a:lnTo>
                    <a:pt x="1228" y="359"/>
                  </a:lnTo>
                  <a:lnTo>
                    <a:pt x="1197" y="334"/>
                  </a:lnTo>
                  <a:lnTo>
                    <a:pt x="1166" y="312"/>
                  </a:lnTo>
                  <a:lnTo>
                    <a:pt x="1135" y="289"/>
                  </a:lnTo>
                  <a:lnTo>
                    <a:pt x="1103" y="268"/>
                  </a:lnTo>
                  <a:lnTo>
                    <a:pt x="1071" y="247"/>
                  </a:lnTo>
                  <a:lnTo>
                    <a:pt x="1038" y="228"/>
                  </a:lnTo>
                  <a:lnTo>
                    <a:pt x="1004" y="208"/>
                  </a:lnTo>
                  <a:lnTo>
                    <a:pt x="970" y="189"/>
                  </a:lnTo>
                  <a:lnTo>
                    <a:pt x="936" y="171"/>
                  </a:lnTo>
                  <a:lnTo>
                    <a:pt x="901" y="154"/>
                  </a:lnTo>
                  <a:lnTo>
                    <a:pt x="866" y="138"/>
                  </a:lnTo>
                  <a:lnTo>
                    <a:pt x="830" y="122"/>
                  </a:lnTo>
                  <a:lnTo>
                    <a:pt x="794" y="108"/>
                  </a:lnTo>
                  <a:lnTo>
                    <a:pt x="757" y="94"/>
                  </a:lnTo>
                  <a:lnTo>
                    <a:pt x="721" y="81"/>
                  </a:lnTo>
                  <a:lnTo>
                    <a:pt x="684" y="68"/>
                  </a:lnTo>
                  <a:lnTo>
                    <a:pt x="646" y="56"/>
                  </a:lnTo>
                  <a:lnTo>
                    <a:pt x="608" y="46"/>
                  </a:lnTo>
                  <a:lnTo>
                    <a:pt x="569" y="36"/>
                  </a:lnTo>
                  <a:lnTo>
                    <a:pt x="531" y="28"/>
                  </a:lnTo>
                  <a:lnTo>
                    <a:pt x="492" y="19"/>
                  </a:lnTo>
                  <a:lnTo>
                    <a:pt x="453" y="12"/>
                  </a:lnTo>
                  <a:lnTo>
                    <a:pt x="412" y="5"/>
                  </a:lnTo>
                  <a:lnTo>
                    <a:pt x="373" y="0"/>
                  </a:lnTo>
                  <a:lnTo>
                    <a:pt x="373" y="1790"/>
                  </a:lnTo>
                  <a:close/>
                  <a:moveTo>
                    <a:pt x="337" y="2668"/>
                  </a:moveTo>
                  <a:lnTo>
                    <a:pt x="316" y="2667"/>
                  </a:lnTo>
                  <a:lnTo>
                    <a:pt x="294" y="2663"/>
                  </a:lnTo>
                  <a:lnTo>
                    <a:pt x="274" y="2658"/>
                  </a:lnTo>
                  <a:lnTo>
                    <a:pt x="253" y="2651"/>
                  </a:lnTo>
                  <a:lnTo>
                    <a:pt x="234" y="2642"/>
                  </a:lnTo>
                  <a:lnTo>
                    <a:pt x="217" y="2632"/>
                  </a:lnTo>
                  <a:lnTo>
                    <a:pt x="209" y="2625"/>
                  </a:lnTo>
                  <a:lnTo>
                    <a:pt x="200" y="2619"/>
                  </a:lnTo>
                  <a:lnTo>
                    <a:pt x="192" y="2612"/>
                  </a:lnTo>
                  <a:lnTo>
                    <a:pt x="185" y="2605"/>
                  </a:lnTo>
                  <a:lnTo>
                    <a:pt x="178" y="2598"/>
                  </a:lnTo>
                  <a:lnTo>
                    <a:pt x="171" y="2589"/>
                  </a:lnTo>
                  <a:lnTo>
                    <a:pt x="164" y="2582"/>
                  </a:lnTo>
                  <a:lnTo>
                    <a:pt x="158" y="2573"/>
                  </a:lnTo>
                  <a:lnTo>
                    <a:pt x="147" y="2555"/>
                  </a:lnTo>
                  <a:lnTo>
                    <a:pt x="139" y="2536"/>
                  </a:lnTo>
                  <a:lnTo>
                    <a:pt x="132" y="2516"/>
                  </a:lnTo>
                  <a:lnTo>
                    <a:pt x="126" y="2495"/>
                  </a:lnTo>
                  <a:lnTo>
                    <a:pt x="123" y="2474"/>
                  </a:lnTo>
                  <a:lnTo>
                    <a:pt x="122" y="2452"/>
                  </a:lnTo>
                  <a:lnTo>
                    <a:pt x="123" y="2429"/>
                  </a:lnTo>
                  <a:lnTo>
                    <a:pt x="126" y="2408"/>
                  </a:lnTo>
                  <a:lnTo>
                    <a:pt x="132" y="2387"/>
                  </a:lnTo>
                  <a:lnTo>
                    <a:pt x="139" y="2367"/>
                  </a:lnTo>
                  <a:lnTo>
                    <a:pt x="147" y="2349"/>
                  </a:lnTo>
                  <a:lnTo>
                    <a:pt x="158" y="2331"/>
                  </a:lnTo>
                  <a:lnTo>
                    <a:pt x="164" y="2322"/>
                  </a:lnTo>
                  <a:lnTo>
                    <a:pt x="171" y="2314"/>
                  </a:lnTo>
                  <a:lnTo>
                    <a:pt x="178" y="2306"/>
                  </a:lnTo>
                  <a:lnTo>
                    <a:pt x="185" y="2299"/>
                  </a:lnTo>
                  <a:lnTo>
                    <a:pt x="192" y="2291"/>
                  </a:lnTo>
                  <a:lnTo>
                    <a:pt x="200" y="2284"/>
                  </a:lnTo>
                  <a:lnTo>
                    <a:pt x="209" y="2277"/>
                  </a:lnTo>
                  <a:lnTo>
                    <a:pt x="217" y="2272"/>
                  </a:lnTo>
                  <a:lnTo>
                    <a:pt x="234" y="2260"/>
                  </a:lnTo>
                  <a:lnTo>
                    <a:pt x="253" y="2252"/>
                  </a:lnTo>
                  <a:lnTo>
                    <a:pt x="274" y="2244"/>
                  </a:lnTo>
                  <a:lnTo>
                    <a:pt x="294" y="2239"/>
                  </a:lnTo>
                  <a:lnTo>
                    <a:pt x="316" y="2236"/>
                  </a:lnTo>
                  <a:lnTo>
                    <a:pt x="337" y="2235"/>
                  </a:lnTo>
                  <a:lnTo>
                    <a:pt x="359" y="2236"/>
                  </a:lnTo>
                  <a:lnTo>
                    <a:pt x="382" y="2239"/>
                  </a:lnTo>
                  <a:lnTo>
                    <a:pt x="402" y="2244"/>
                  </a:lnTo>
                  <a:lnTo>
                    <a:pt x="422" y="2252"/>
                  </a:lnTo>
                  <a:lnTo>
                    <a:pt x="441" y="2260"/>
                  </a:lnTo>
                  <a:lnTo>
                    <a:pt x="459" y="2272"/>
                  </a:lnTo>
                  <a:lnTo>
                    <a:pt x="468" y="2277"/>
                  </a:lnTo>
                  <a:lnTo>
                    <a:pt x="476" y="2284"/>
                  </a:lnTo>
                  <a:lnTo>
                    <a:pt x="484" y="2291"/>
                  </a:lnTo>
                  <a:lnTo>
                    <a:pt x="491" y="2299"/>
                  </a:lnTo>
                  <a:lnTo>
                    <a:pt x="498" y="2306"/>
                  </a:lnTo>
                  <a:lnTo>
                    <a:pt x="505" y="2314"/>
                  </a:lnTo>
                  <a:lnTo>
                    <a:pt x="511" y="2322"/>
                  </a:lnTo>
                  <a:lnTo>
                    <a:pt x="517" y="2331"/>
                  </a:lnTo>
                  <a:lnTo>
                    <a:pt x="528" y="2349"/>
                  </a:lnTo>
                  <a:lnTo>
                    <a:pt x="538" y="2367"/>
                  </a:lnTo>
                  <a:lnTo>
                    <a:pt x="545" y="2387"/>
                  </a:lnTo>
                  <a:lnTo>
                    <a:pt x="550" y="2408"/>
                  </a:lnTo>
                  <a:lnTo>
                    <a:pt x="553" y="2429"/>
                  </a:lnTo>
                  <a:lnTo>
                    <a:pt x="555" y="2452"/>
                  </a:lnTo>
                  <a:lnTo>
                    <a:pt x="553" y="2474"/>
                  </a:lnTo>
                  <a:lnTo>
                    <a:pt x="550" y="2495"/>
                  </a:lnTo>
                  <a:lnTo>
                    <a:pt x="545" y="2516"/>
                  </a:lnTo>
                  <a:lnTo>
                    <a:pt x="538" y="2536"/>
                  </a:lnTo>
                  <a:lnTo>
                    <a:pt x="528" y="2555"/>
                  </a:lnTo>
                  <a:lnTo>
                    <a:pt x="517" y="2573"/>
                  </a:lnTo>
                  <a:lnTo>
                    <a:pt x="511" y="2582"/>
                  </a:lnTo>
                  <a:lnTo>
                    <a:pt x="505" y="2589"/>
                  </a:lnTo>
                  <a:lnTo>
                    <a:pt x="498" y="2598"/>
                  </a:lnTo>
                  <a:lnTo>
                    <a:pt x="491" y="2605"/>
                  </a:lnTo>
                  <a:lnTo>
                    <a:pt x="484" y="2612"/>
                  </a:lnTo>
                  <a:lnTo>
                    <a:pt x="476" y="2619"/>
                  </a:lnTo>
                  <a:lnTo>
                    <a:pt x="468" y="2625"/>
                  </a:lnTo>
                  <a:lnTo>
                    <a:pt x="459" y="2632"/>
                  </a:lnTo>
                  <a:lnTo>
                    <a:pt x="441" y="2642"/>
                  </a:lnTo>
                  <a:lnTo>
                    <a:pt x="422" y="2651"/>
                  </a:lnTo>
                  <a:lnTo>
                    <a:pt x="402" y="2658"/>
                  </a:lnTo>
                  <a:lnTo>
                    <a:pt x="382" y="2663"/>
                  </a:lnTo>
                  <a:lnTo>
                    <a:pt x="359" y="2667"/>
                  </a:lnTo>
                  <a:lnTo>
                    <a:pt x="337" y="2668"/>
                  </a:lnTo>
                  <a:close/>
                  <a:moveTo>
                    <a:pt x="844" y="2668"/>
                  </a:moveTo>
                  <a:lnTo>
                    <a:pt x="823" y="2667"/>
                  </a:lnTo>
                  <a:lnTo>
                    <a:pt x="802" y="2663"/>
                  </a:lnTo>
                  <a:lnTo>
                    <a:pt x="780" y="2658"/>
                  </a:lnTo>
                  <a:lnTo>
                    <a:pt x="760" y="2651"/>
                  </a:lnTo>
                  <a:lnTo>
                    <a:pt x="742" y="2642"/>
                  </a:lnTo>
                  <a:lnTo>
                    <a:pt x="724" y="2632"/>
                  </a:lnTo>
                  <a:lnTo>
                    <a:pt x="716" y="2625"/>
                  </a:lnTo>
                  <a:lnTo>
                    <a:pt x="707" y="2619"/>
                  </a:lnTo>
                  <a:lnTo>
                    <a:pt x="700" y="2612"/>
                  </a:lnTo>
                  <a:lnTo>
                    <a:pt x="692" y="2605"/>
                  </a:lnTo>
                  <a:lnTo>
                    <a:pt x="685" y="2598"/>
                  </a:lnTo>
                  <a:lnTo>
                    <a:pt x="678" y="2589"/>
                  </a:lnTo>
                  <a:lnTo>
                    <a:pt x="671" y="2582"/>
                  </a:lnTo>
                  <a:lnTo>
                    <a:pt x="666" y="2573"/>
                  </a:lnTo>
                  <a:lnTo>
                    <a:pt x="654" y="2555"/>
                  </a:lnTo>
                  <a:lnTo>
                    <a:pt x="646" y="2536"/>
                  </a:lnTo>
                  <a:lnTo>
                    <a:pt x="638" y="2516"/>
                  </a:lnTo>
                  <a:lnTo>
                    <a:pt x="633" y="2495"/>
                  </a:lnTo>
                  <a:lnTo>
                    <a:pt x="630" y="2474"/>
                  </a:lnTo>
                  <a:lnTo>
                    <a:pt x="629" y="2452"/>
                  </a:lnTo>
                  <a:lnTo>
                    <a:pt x="630" y="2429"/>
                  </a:lnTo>
                  <a:lnTo>
                    <a:pt x="633" y="2408"/>
                  </a:lnTo>
                  <a:lnTo>
                    <a:pt x="638" y="2387"/>
                  </a:lnTo>
                  <a:lnTo>
                    <a:pt x="646" y="2367"/>
                  </a:lnTo>
                  <a:lnTo>
                    <a:pt x="654" y="2349"/>
                  </a:lnTo>
                  <a:lnTo>
                    <a:pt x="666" y="2331"/>
                  </a:lnTo>
                  <a:lnTo>
                    <a:pt x="671" y="2322"/>
                  </a:lnTo>
                  <a:lnTo>
                    <a:pt x="678" y="2314"/>
                  </a:lnTo>
                  <a:lnTo>
                    <a:pt x="685" y="2306"/>
                  </a:lnTo>
                  <a:lnTo>
                    <a:pt x="692" y="2299"/>
                  </a:lnTo>
                  <a:lnTo>
                    <a:pt x="700" y="2291"/>
                  </a:lnTo>
                  <a:lnTo>
                    <a:pt x="707" y="2284"/>
                  </a:lnTo>
                  <a:lnTo>
                    <a:pt x="716" y="2277"/>
                  </a:lnTo>
                  <a:lnTo>
                    <a:pt x="724" y="2272"/>
                  </a:lnTo>
                  <a:lnTo>
                    <a:pt x="742" y="2260"/>
                  </a:lnTo>
                  <a:lnTo>
                    <a:pt x="760" y="2252"/>
                  </a:lnTo>
                  <a:lnTo>
                    <a:pt x="780" y="2244"/>
                  </a:lnTo>
                  <a:lnTo>
                    <a:pt x="802" y="2239"/>
                  </a:lnTo>
                  <a:lnTo>
                    <a:pt x="823" y="2236"/>
                  </a:lnTo>
                  <a:lnTo>
                    <a:pt x="844" y="2235"/>
                  </a:lnTo>
                  <a:lnTo>
                    <a:pt x="866" y="2236"/>
                  </a:lnTo>
                  <a:lnTo>
                    <a:pt x="888" y="2239"/>
                  </a:lnTo>
                  <a:lnTo>
                    <a:pt x="909" y="2244"/>
                  </a:lnTo>
                  <a:lnTo>
                    <a:pt x="929" y="2252"/>
                  </a:lnTo>
                  <a:lnTo>
                    <a:pt x="948" y="2260"/>
                  </a:lnTo>
                  <a:lnTo>
                    <a:pt x="966" y="2272"/>
                  </a:lnTo>
                  <a:lnTo>
                    <a:pt x="973" y="2277"/>
                  </a:lnTo>
                  <a:lnTo>
                    <a:pt x="982" y="2284"/>
                  </a:lnTo>
                  <a:lnTo>
                    <a:pt x="990" y="2291"/>
                  </a:lnTo>
                  <a:lnTo>
                    <a:pt x="998" y="2299"/>
                  </a:lnTo>
                  <a:lnTo>
                    <a:pt x="1004" y="2306"/>
                  </a:lnTo>
                  <a:lnTo>
                    <a:pt x="1011" y="2314"/>
                  </a:lnTo>
                  <a:lnTo>
                    <a:pt x="1018" y="2322"/>
                  </a:lnTo>
                  <a:lnTo>
                    <a:pt x="1024" y="2331"/>
                  </a:lnTo>
                  <a:lnTo>
                    <a:pt x="1035" y="2349"/>
                  </a:lnTo>
                  <a:lnTo>
                    <a:pt x="1043" y="2367"/>
                  </a:lnTo>
                  <a:lnTo>
                    <a:pt x="1051" y="2387"/>
                  </a:lnTo>
                  <a:lnTo>
                    <a:pt x="1056" y="2408"/>
                  </a:lnTo>
                  <a:lnTo>
                    <a:pt x="1059" y="2429"/>
                  </a:lnTo>
                  <a:lnTo>
                    <a:pt x="1060" y="2452"/>
                  </a:lnTo>
                  <a:lnTo>
                    <a:pt x="1059" y="2474"/>
                  </a:lnTo>
                  <a:lnTo>
                    <a:pt x="1056" y="2495"/>
                  </a:lnTo>
                  <a:lnTo>
                    <a:pt x="1051" y="2516"/>
                  </a:lnTo>
                  <a:lnTo>
                    <a:pt x="1043" y="2536"/>
                  </a:lnTo>
                  <a:lnTo>
                    <a:pt x="1035" y="2555"/>
                  </a:lnTo>
                  <a:lnTo>
                    <a:pt x="1024" y="2573"/>
                  </a:lnTo>
                  <a:lnTo>
                    <a:pt x="1018" y="2582"/>
                  </a:lnTo>
                  <a:lnTo>
                    <a:pt x="1011" y="2589"/>
                  </a:lnTo>
                  <a:lnTo>
                    <a:pt x="1004" y="2598"/>
                  </a:lnTo>
                  <a:lnTo>
                    <a:pt x="998" y="2605"/>
                  </a:lnTo>
                  <a:lnTo>
                    <a:pt x="990" y="2612"/>
                  </a:lnTo>
                  <a:lnTo>
                    <a:pt x="982" y="2619"/>
                  </a:lnTo>
                  <a:lnTo>
                    <a:pt x="973" y="2625"/>
                  </a:lnTo>
                  <a:lnTo>
                    <a:pt x="966" y="2632"/>
                  </a:lnTo>
                  <a:lnTo>
                    <a:pt x="948" y="2642"/>
                  </a:lnTo>
                  <a:lnTo>
                    <a:pt x="929" y="2651"/>
                  </a:lnTo>
                  <a:lnTo>
                    <a:pt x="909" y="2658"/>
                  </a:lnTo>
                  <a:lnTo>
                    <a:pt x="888" y="2663"/>
                  </a:lnTo>
                  <a:lnTo>
                    <a:pt x="866" y="2667"/>
                  </a:lnTo>
                  <a:lnTo>
                    <a:pt x="844" y="2668"/>
                  </a:lnTo>
                  <a:close/>
                  <a:moveTo>
                    <a:pt x="1351" y="2668"/>
                  </a:moveTo>
                  <a:lnTo>
                    <a:pt x="1329" y="2667"/>
                  </a:lnTo>
                  <a:lnTo>
                    <a:pt x="1307" y="2663"/>
                  </a:lnTo>
                  <a:lnTo>
                    <a:pt x="1287" y="2658"/>
                  </a:lnTo>
                  <a:lnTo>
                    <a:pt x="1267" y="2651"/>
                  </a:lnTo>
                  <a:lnTo>
                    <a:pt x="1248" y="2642"/>
                  </a:lnTo>
                  <a:lnTo>
                    <a:pt x="1230" y="2632"/>
                  </a:lnTo>
                  <a:lnTo>
                    <a:pt x="1221" y="2625"/>
                  </a:lnTo>
                  <a:lnTo>
                    <a:pt x="1214" y="2619"/>
                  </a:lnTo>
                  <a:lnTo>
                    <a:pt x="1205" y="2612"/>
                  </a:lnTo>
                  <a:lnTo>
                    <a:pt x="1198" y="2605"/>
                  </a:lnTo>
                  <a:lnTo>
                    <a:pt x="1191" y="2598"/>
                  </a:lnTo>
                  <a:lnTo>
                    <a:pt x="1184" y="2589"/>
                  </a:lnTo>
                  <a:lnTo>
                    <a:pt x="1178" y="2582"/>
                  </a:lnTo>
                  <a:lnTo>
                    <a:pt x="1172" y="2573"/>
                  </a:lnTo>
                  <a:lnTo>
                    <a:pt x="1161" y="2555"/>
                  </a:lnTo>
                  <a:lnTo>
                    <a:pt x="1152" y="2536"/>
                  </a:lnTo>
                  <a:lnTo>
                    <a:pt x="1145" y="2516"/>
                  </a:lnTo>
                  <a:lnTo>
                    <a:pt x="1140" y="2495"/>
                  </a:lnTo>
                  <a:lnTo>
                    <a:pt x="1137" y="2474"/>
                  </a:lnTo>
                  <a:lnTo>
                    <a:pt x="1135" y="2452"/>
                  </a:lnTo>
                  <a:lnTo>
                    <a:pt x="1137" y="2429"/>
                  </a:lnTo>
                  <a:lnTo>
                    <a:pt x="1140" y="2408"/>
                  </a:lnTo>
                  <a:lnTo>
                    <a:pt x="1145" y="2387"/>
                  </a:lnTo>
                  <a:lnTo>
                    <a:pt x="1152" y="2367"/>
                  </a:lnTo>
                  <a:lnTo>
                    <a:pt x="1161" y="2349"/>
                  </a:lnTo>
                  <a:lnTo>
                    <a:pt x="1172" y="2331"/>
                  </a:lnTo>
                  <a:lnTo>
                    <a:pt x="1178" y="2322"/>
                  </a:lnTo>
                  <a:lnTo>
                    <a:pt x="1184" y="2314"/>
                  </a:lnTo>
                  <a:lnTo>
                    <a:pt x="1191" y="2306"/>
                  </a:lnTo>
                  <a:lnTo>
                    <a:pt x="1198" y="2299"/>
                  </a:lnTo>
                  <a:lnTo>
                    <a:pt x="1205" y="2291"/>
                  </a:lnTo>
                  <a:lnTo>
                    <a:pt x="1214" y="2284"/>
                  </a:lnTo>
                  <a:lnTo>
                    <a:pt x="1221" y="2277"/>
                  </a:lnTo>
                  <a:lnTo>
                    <a:pt x="1230" y="2272"/>
                  </a:lnTo>
                  <a:lnTo>
                    <a:pt x="1248" y="2260"/>
                  </a:lnTo>
                  <a:lnTo>
                    <a:pt x="1267" y="2252"/>
                  </a:lnTo>
                  <a:lnTo>
                    <a:pt x="1287" y="2244"/>
                  </a:lnTo>
                  <a:lnTo>
                    <a:pt x="1307" y="2239"/>
                  </a:lnTo>
                  <a:lnTo>
                    <a:pt x="1329" y="2236"/>
                  </a:lnTo>
                  <a:lnTo>
                    <a:pt x="1351" y="2235"/>
                  </a:lnTo>
                  <a:lnTo>
                    <a:pt x="1373" y="2236"/>
                  </a:lnTo>
                  <a:lnTo>
                    <a:pt x="1394" y="2239"/>
                  </a:lnTo>
                  <a:lnTo>
                    <a:pt x="1415" y="2244"/>
                  </a:lnTo>
                  <a:lnTo>
                    <a:pt x="1435" y="2252"/>
                  </a:lnTo>
                  <a:lnTo>
                    <a:pt x="1455" y="2260"/>
                  </a:lnTo>
                  <a:lnTo>
                    <a:pt x="1472" y="2272"/>
                  </a:lnTo>
                  <a:lnTo>
                    <a:pt x="1480" y="2277"/>
                  </a:lnTo>
                  <a:lnTo>
                    <a:pt x="1488" y="2284"/>
                  </a:lnTo>
                  <a:lnTo>
                    <a:pt x="1496" y="2291"/>
                  </a:lnTo>
                  <a:lnTo>
                    <a:pt x="1504" y="2299"/>
                  </a:lnTo>
                  <a:lnTo>
                    <a:pt x="1511" y="2306"/>
                  </a:lnTo>
                  <a:lnTo>
                    <a:pt x="1518" y="2314"/>
                  </a:lnTo>
                  <a:lnTo>
                    <a:pt x="1525" y="2322"/>
                  </a:lnTo>
                  <a:lnTo>
                    <a:pt x="1530" y="2331"/>
                  </a:lnTo>
                  <a:lnTo>
                    <a:pt x="1542" y="2349"/>
                  </a:lnTo>
                  <a:lnTo>
                    <a:pt x="1550" y="2367"/>
                  </a:lnTo>
                  <a:lnTo>
                    <a:pt x="1557" y="2387"/>
                  </a:lnTo>
                  <a:lnTo>
                    <a:pt x="1563" y="2408"/>
                  </a:lnTo>
                  <a:lnTo>
                    <a:pt x="1566" y="2429"/>
                  </a:lnTo>
                  <a:lnTo>
                    <a:pt x="1567" y="2452"/>
                  </a:lnTo>
                  <a:lnTo>
                    <a:pt x="1566" y="2474"/>
                  </a:lnTo>
                  <a:lnTo>
                    <a:pt x="1563" y="2495"/>
                  </a:lnTo>
                  <a:lnTo>
                    <a:pt x="1557" y="2516"/>
                  </a:lnTo>
                  <a:lnTo>
                    <a:pt x="1550" y="2536"/>
                  </a:lnTo>
                  <a:lnTo>
                    <a:pt x="1542" y="2555"/>
                  </a:lnTo>
                  <a:lnTo>
                    <a:pt x="1530" y="2573"/>
                  </a:lnTo>
                  <a:lnTo>
                    <a:pt x="1525" y="2582"/>
                  </a:lnTo>
                  <a:lnTo>
                    <a:pt x="1518" y="2589"/>
                  </a:lnTo>
                  <a:lnTo>
                    <a:pt x="1511" y="2598"/>
                  </a:lnTo>
                  <a:lnTo>
                    <a:pt x="1504" y="2605"/>
                  </a:lnTo>
                  <a:lnTo>
                    <a:pt x="1496" y="2612"/>
                  </a:lnTo>
                  <a:lnTo>
                    <a:pt x="1488" y="2619"/>
                  </a:lnTo>
                  <a:lnTo>
                    <a:pt x="1480" y="2625"/>
                  </a:lnTo>
                  <a:lnTo>
                    <a:pt x="1472" y="2632"/>
                  </a:lnTo>
                  <a:lnTo>
                    <a:pt x="1455" y="2642"/>
                  </a:lnTo>
                  <a:lnTo>
                    <a:pt x="1435" y="2651"/>
                  </a:lnTo>
                  <a:lnTo>
                    <a:pt x="1415" y="2658"/>
                  </a:lnTo>
                  <a:lnTo>
                    <a:pt x="1394" y="2663"/>
                  </a:lnTo>
                  <a:lnTo>
                    <a:pt x="1373" y="2667"/>
                  </a:lnTo>
                  <a:lnTo>
                    <a:pt x="1351" y="266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latin typeface="PF DinDisplay Pro" panose="02000506030000020004" pitchFamily="2" charset="0"/>
              </a:endParaRPr>
            </a:p>
          </p:txBody>
        </p:sp>
        <p:sp>
          <p:nvSpPr>
            <p:cNvPr id="63" name="Freeform 7"/>
            <p:cNvSpPr>
              <a:spLocks noEditPoints="1"/>
            </p:cNvSpPr>
            <p:nvPr/>
          </p:nvSpPr>
          <p:spPr bwMode="auto">
            <a:xfrm>
              <a:off x="5176838" y="2511426"/>
              <a:ext cx="919163" cy="1816100"/>
            </a:xfrm>
            <a:custGeom>
              <a:avLst/>
              <a:gdLst>
                <a:gd name="T0" fmla="*/ 1734 w 1735"/>
                <a:gd name="T1" fmla="*/ 0 h 3431"/>
                <a:gd name="T2" fmla="*/ 1734 w 1735"/>
                <a:gd name="T3" fmla="*/ 0 h 3431"/>
                <a:gd name="T4" fmla="*/ 1733 w 1735"/>
                <a:gd name="T5" fmla="*/ 0 h 3431"/>
                <a:gd name="T6" fmla="*/ 1733 w 1735"/>
                <a:gd name="T7" fmla="*/ 0 h 3431"/>
                <a:gd name="T8" fmla="*/ 1732 w 1735"/>
                <a:gd name="T9" fmla="*/ 0 h 3431"/>
                <a:gd name="T10" fmla="*/ 1731 w 1735"/>
                <a:gd name="T11" fmla="*/ 0 h 3431"/>
                <a:gd name="T12" fmla="*/ 1730 w 1735"/>
                <a:gd name="T13" fmla="*/ 0 h 3431"/>
                <a:gd name="T14" fmla="*/ 1729 w 1735"/>
                <a:gd name="T15" fmla="*/ 0 h 3431"/>
                <a:gd name="T16" fmla="*/ 1510 w 1735"/>
                <a:gd name="T17" fmla="*/ 14 h 3431"/>
                <a:gd name="T18" fmla="*/ 1298 w 1735"/>
                <a:gd name="T19" fmla="*/ 55 h 3431"/>
                <a:gd name="T20" fmla="*/ 1095 w 1735"/>
                <a:gd name="T21" fmla="*/ 121 h 3431"/>
                <a:gd name="T22" fmla="*/ 905 w 1735"/>
                <a:gd name="T23" fmla="*/ 210 h 3431"/>
                <a:gd name="T24" fmla="*/ 728 w 1735"/>
                <a:gd name="T25" fmla="*/ 320 h 3431"/>
                <a:gd name="T26" fmla="*/ 567 w 1735"/>
                <a:gd name="T27" fmla="*/ 451 h 3431"/>
                <a:gd name="T28" fmla="*/ 422 w 1735"/>
                <a:gd name="T29" fmla="*/ 600 h 3431"/>
                <a:gd name="T30" fmla="*/ 296 w 1735"/>
                <a:gd name="T31" fmla="*/ 765 h 3431"/>
                <a:gd name="T32" fmla="*/ 190 w 1735"/>
                <a:gd name="T33" fmla="*/ 945 h 3431"/>
                <a:gd name="T34" fmla="*/ 105 w 1735"/>
                <a:gd name="T35" fmla="*/ 1138 h 3431"/>
                <a:gd name="T36" fmla="*/ 45 w 1735"/>
                <a:gd name="T37" fmla="*/ 1344 h 3431"/>
                <a:gd name="T38" fmla="*/ 10 w 1735"/>
                <a:gd name="T39" fmla="*/ 1558 h 3431"/>
                <a:gd name="T40" fmla="*/ 1 w 1735"/>
                <a:gd name="T41" fmla="*/ 1773 h 3431"/>
                <a:gd name="T42" fmla="*/ 15 w 1735"/>
                <a:gd name="T43" fmla="*/ 1965 h 3431"/>
                <a:gd name="T44" fmla="*/ 50 w 1735"/>
                <a:gd name="T45" fmla="*/ 2150 h 3431"/>
                <a:gd name="T46" fmla="*/ 104 w 1735"/>
                <a:gd name="T47" fmla="*/ 2327 h 3431"/>
                <a:gd name="T48" fmla="*/ 175 w 1735"/>
                <a:gd name="T49" fmla="*/ 2496 h 3431"/>
                <a:gd name="T50" fmla="*/ 263 w 1735"/>
                <a:gd name="T51" fmla="*/ 2655 h 3431"/>
                <a:gd name="T52" fmla="*/ 367 w 1735"/>
                <a:gd name="T53" fmla="*/ 2803 h 3431"/>
                <a:gd name="T54" fmla="*/ 486 w 1735"/>
                <a:gd name="T55" fmla="*/ 2939 h 3431"/>
                <a:gd name="T56" fmla="*/ 617 w 1735"/>
                <a:gd name="T57" fmla="*/ 3063 h 3431"/>
                <a:gd name="T58" fmla="*/ 760 w 1735"/>
                <a:gd name="T59" fmla="*/ 3172 h 3431"/>
                <a:gd name="T60" fmla="*/ 916 w 1735"/>
                <a:gd name="T61" fmla="*/ 3266 h 3431"/>
                <a:gd name="T62" fmla="*/ 1080 w 1735"/>
                <a:gd name="T63" fmla="*/ 3343 h 3431"/>
                <a:gd name="T64" fmla="*/ 1254 w 1735"/>
                <a:gd name="T65" fmla="*/ 3403 h 3431"/>
                <a:gd name="T66" fmla="*/ 1365 w 1735"/>
                <a:gd name="T67" fmla="*/ 1847 h 3431"/>
                <a:gd name="T68" fmla="*/ 1446 w 1735"/>
                <a:gd name="T69" fmla="*/ 1748 h 3431"/>
                <a:gd name="T70" fmla="*/ 1498 w 1735"/>
                <a:gd name="T71" fmla="*/ 1735 h 3431"/>
                <a:gd name="T72" fmla="*/ 1498 w 1735"/>
                <a:gd name="T73" fmla="*/ 1735 h 3431"/>
                <a:gd name="T74" fmla="*/ 1498 w 1735"/>
                <a:gd name="T75" fmla="*/ 1735 h 3431"/>
                <a:gd name="T76" fmla="*/ 1498 w 1735"/>
                <a:gd name="T77" fmla="*/ 1735 h 3431"/>
                <a:gd name="T78" fmla="*/ 1704 w 1735"/>
                <a:gd name="T79" fmla="*/ 1735 h 3431"/>
                <a:gd name="T80" fmla="*/ 1730 w 1735"/>
                <a:gd name="T81" fmla="*/ 1729 h 3431"/>
                <a:gd name="T82" fmla="*/ 1735 w 1735"/>
                <a:gd name="T83" fmla="*/ 0 h 3431"/>
                <a:gd name="T84" fmla="*/ 1314 w 1735"/>
                <a:gd name="T85" fmla="*/ 1414 h 3431"/>
                <a:gd name="T86" fmla="*/ 1253 w 1735"/>
                <a:gd name="T87" fmla="*/ 1375 h 3431"/>
                <a:gd name="T88" fmla="*/ 1219 w 1735"/>
                <a:gd name="T89" fmla="*/ 1335 h 3431"/>
                <a:gd name="T90" fmla="*/ 1183 w 1735"/>
                <a:gd name="T91" fmla="*/ 1236 h 3431"/>
                <a:gd name="T92" fmla="*/ 1199 w 1735"/>
                <a:gd name="T93" fmla="*/ 1130 h 3431"/>
                <a:gd name="T94" fmla="*/ 1238 w 1735"/>
                <a:gd name="T95" fmla="*/ 1068 h 3431"/>
                <a:gd name="T96" fmla="*/ 1277 w 1735"/>
                <a:gd name="T97" fmla="*/ 1034 h 3431"/>
                <a:gd name="T98" fmla="*/ 1376 w 1735"/>
                <a:gd name="T99" fmla="*/ 998 h 3431"/>
                <a:gd name="T100" fmla="*/ 1482 w 1735"/>
                <a:gd name="T101" fmla="*/ 1014 h 3431"/>
                <a:gd name="T102" fmla="*/ 1544 w 1735"/>
                <a:gd name="T103" fmla="*/ 1053 h 3431"/>
                <a:gd name="T104" fmla="*/ 1578 w 1735"/>
                <a:gd name="T105" fmla="*/ 1093 h 3431"/>
                <a:gd name="T106" fmla="*/ 1614 w 1735"/>
                <a:gd name="T107" fmla="*/ 1192 h 3431"/>
                <a:gd name="T108" fmla="*/ 1598 w 1735"/>
                <a:gd name="T109" fmla="*/ 1298 h 3431"/>
                <a:gd name="T110" fmla="*/ 1558 w 1735"/>
                <a:gd name="T111" fmla="*/ 1360 h 3431"/>
                <a:gd name="T112" fmla="*/ 1519 w 1735"/>
                <a:gd name="T113" fmla="*/ 1394 h 3431"/>
                <a:gd name="T114" fmla="*/ 1421 w 1735"/>
                <a:gd name="T115" fmla="*/ 1430 h 3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35" h="3431">
                  <a:moveTo>
                    <a:pt x="1735" y="0"/>
                  </a:move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2" y="0"/>
                  </a:lnTo>
                  <a:lnTo>
                    <a:pt x="1732" y="0"/>
                  </a:lnTo>
                  <a:lnTo>
                    <a:pt x="1732" y="0"/>
                  </a:lnTo>
                  <a:lnTo>
                    <a:pt x="1732" y="0"/>
                  </a:lnTo>
                  <a:lnTo>
                    <a:pt x="1732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29" y="0"/>
                  </a:lnTo>
                  <a:lnTo>
                    <a:pt x="1685" y="1"/>
                  </a:lnTo>
                  <a:lnTo>
                    <a:pt x="1641" y="2"/>
                  </a:lnTo>
                  <a:lnTo>
                    <a:pt x="1597" y="6"/>
                  </a:lnTo>
                  <a:lnTo>
                    <a:pt x="1553" y="10"/>
                  </a:lnTo>
                  <a:lnTo>
                    <a:pt x="1510" y="14"/>
                  </a:lnTo>
                  <a:lnTo>
                    <a:pt x="1466" y="21"/>
                  </a:lnTo>
                  <a:lnTo>
                    <a:pt x="1424" y="28"/>
                  </a:lnTo>
                  <a:lnTo>
                    <a:pt x="1381" y="35"/>
                  </a:lnTo>
                  <a:lnTo>
                    <a:pt x="1339" y="45"/>
                  </a:lnTo>
                  <a:lnTo>
                    <a:pt x="1298" y="55"/>
                  </a:lnTo>
                  <a:lnTo>
                    <a:pt x="1256" y="66"/>
                  </a:lnTo>
                  <a:lnTo>
                    <a:pt x="1215" y="78"/>
                  </a:lnTo>
                  <a:lnTo>
                    <a:pt x="1175" y="92"/>
                  </a:lnTo>
                  <a:lnTo>
                    <a:pt x="1135" y="106"/>
                  </a:lnTo>
                  <a:lnTo>
                    <a:pt x="1095" y="121"/>
                  </a:lnTo>
                  <a:lnTo>
                    <a:pt x="1057" y="136"/>
                  </a:lnTo>
                  <a:lnTo>
                    <a:pt x="1018" y="154"/>
                  </a:lnTo>
                  <a:lnTo>
                    <a:pt x="980" y="172"/>
                  </a:lnTo>
                  <a:lnTo>
                    <a:pt x="943" y="191"/>
                  </a:lnTo>
                  <a:lnTo>
                    <a:pt x="905" y="210"/>
                  </a:lnTo>
                  <a:lnTo>
                    <a:pt x="869" y="230"/>
                  </a:lnTo>
                  <a:lnTo>
                    <a:pt x="833" y="251"/>
                  </a:lnTo>
                  <a:lnTo>
                    <a:pt x="797" y="274"/>
                  </a:lnTo>
                  <a:lnTo>
                    <a:pt x="763" y="297"/>
                  </a:lnTo>
                  <a:lnTo>
                    <a:pt x="728" y="320"/>
                  </a:lnTo>
                  <a:lnTo>
                    <a:pt x="695" y="345"/>
                  </a:lnTo>
                  <a:lnTo>
                    <a:pt x="662" y="370"/>
                  </a:lnTo>
                  <a:lnTo>
                    <a:pt x="630" y="397"/>
                  </a:lnTo>
                  <a:lnTo>
                    <a:pt x="598" y="424"/>
                  </a:lnTo>
                  <a:lnTo>
                    <a:pt x="567" y="451"/>
                  </a:lnTo>
                  <a:lnTo>
                    <a:pt x="536" y="479"/>
                  </a:lnTo>
                  <a:lnTo>
                    <a:pt x="507" y="509"/>
                  </a:lnTo>
                  <a:lnTo>
                    <a:pt x="478" y="539"/>
                  </a:lnTo>
                  <a:lnTo>
                    <a:pt x="450" y="568"/>
                  </a:lnTo>
                  <a:lnTo>
                    <a:pt x="422" y="600"/>
                  </a:lnTo>
                  <a:lnTo>
                    <a:pt x="395" y="632"/>
                  </a:lnTo>
                  <a:lnTo>
                    <a:pt x="369" y="664"/>
                  </a:lnTo>
                  <a:lnTo>
                    <a:pt x="344" y="697"/>
                  </a:lnTo>
                  <a:lnTo>
                    <a:pt x="319" y="731"/>
                  </a:lnTo>
                  <a:lnTo>
                    <a:pt x="296" y="765"/>
                  </a:lnTo>
                  <a:lnTo>
                    <a:pt x="273" y="800"/>
                  </a:lnTo>
                  <a:lnTo>
                    <a:pt x="250" y="835"/>
                  </a:lnTo>
                  <a:lnTo>
                    <a:pt x="229" y="871"/>
                  </a:lnTo>
                  <a:lnTo>
                    <a:pt x="209" y="909"/>
                  </a:lnTo>
                  <a:lnTo>
                    <a:pt x="190" y="945"/>
                  </a:lnTo>
                  <a:lnTo>
                    <a:pt x="171" y="983"/>
                  </a:lnTo>
                  <a:lnTo>
                    <a:pt x="153" y="1021"/>
                  </a:lnTo>
                  <a:lnTo>
                    <a:pt x="136" y="1060"/>
                  </a:lnTo>
                  <a:lnTo>
                    <a:pt x="120" y="1099"/>
                  </a:lnTo>
                  <a:lnTo>
                    <a:pt x="105" y="1138"/>
                  </a:lnTo>
                  <a:lnTo>
                    <a:pt x="91" y="1179"/>
                  </a:lnTo>
                  <a:lnTo>
                    <a:pt x="79" y="1219"/>
                  </a:lnTo>
                  <a:lnTo>
                    <a:pt x="66" y="1260"/>
                  </a:lnTo>
                  <a:lnTo>
                    <a:pt x="55" y="1301"/>
                  </a:lnTo>
                  <a:lnTo>
                    <a:pt x="45" y="1344"/>
                  </a:lnTo>
                  <a:lnTo>
                    <a:pt x="35" y="1385"/>
                  </a:lnTo>
                  <a:lnTo>
                    <a:pt x="28" y="1428"/>
                  </a:lnTo>
                  <a:lnTo>
                    <a:pt x="20" y="1471"/>
                  </a:lnTo>
                  <a:lnTo>
                    <a:pt x="14" y="1514"/>
                  </a:lnTo>
                  <a:lnTo>
                    <a:pt x="10" y="1558"/>
                  </a:lnTo>
                  <a:lnTo>
                    <a:pt x="5" y="1601"/>
                  </a:lnTo>
                  <a:lnTo>
                    <a:pt x="2" y="1646"/>
                  </a:lnTo>
                  <a:lnTo>
                    <a:pt x="1" y="1690"/>
                  </a:lnTo>
                  <a:lnTo>
                    <a:pt x="0" y="1735"/>
                  </a:lnTo>
                  <a:lnTo>
                    <a:pt x="1" y="1773"/>
                  </a:lnTo>
                  <a:lnTo>
                    <a:pt x="2" y="1813"/>
                  </a:lnTo>
                  <a:lnTo>
                    <a:pt x="4" y="1851"/>
                  </a:lnTo>
                  <a:lnTo>
                    <a:pt x="7" y="1889"/>
                  </a:lnTo>
                  <a:lnTo>
                    <a:pt x="11" y="1928"/>
                  </a:lnTo>
                  <a:lnTo>
                    <a:pt x="15" y="1965"/>
                  </a:lnTo>
                  <a:lnTo>
                    <a:pt x="21" y="2002"/>
                  </a:lnTo>
                  <a:lnTo>
                    <a:pt x="27" y="2039"/>
                  </a:lnTo>
                  <a:lnTo>
                    <a:pt x="34" y="2077"/>
                  </a:lnTo>
                  <a:lnTo>
                    <a:pt x="41" y="2114"/>
                  </a:lnTo>
                  <a:lnTo>
                    <a:pt x="50" y="2150"/>
                  </a:lnTo>
                  <a:lnTo>
                    <a:pt x="59" y="2186"/>
                  </a:lnTo>
                  <a:lnTo>
                    <a:pt x="69" y="2221"/>
                  </a:lnTo>
                  <a:lnTo>
                    <a:pt x="80" y="2257"/>
                  </a:lnTo>
                  <a:lnTo>
                    <a:pt x="91" y="2292"/>
                  </a:lnTo>
                  <a:lnTo>
                    <a:pt x="104" y="2327"/>
                  </a:lnTo>
                  <a:lnTo>
                    <a:pt x="117" y="2362"/>
                  </a:lnTo>
                  <a:lnTo>
                    <a:pt x="130" y="2396"/>
                  </a:lnTo>
                  <a:lnTo>
                    <a:pt x="144" y="2430"/>
                  </a:lnTo>
                  <a:lnTo>
                    <a:pt x="159" y="2463"/>
                  </a:lnTo>
                  <a:lnTo>
                    <a:pt x="175" y="2496"/>
                  </a:lnTo>
                  <a:lnTo>
                    <a:pt x="192" y="2529"/>
                  </a:lnTo>
                  <a:lnTo>
                    <a:pt x="209" y="2561"/>
                  </a:lnTo>
                  <a:lnTo>
                    <a:pt x="226" y="2592"/>
                  </a:lnTo>
                  <a:lnTo>
                    <a:pt x="244" y="2623"/>
                  </a:lnTo>
                  <a:lnTo>
                    <a:pt x="263" y="2655"/>
                  </a:lnTo>
                  <a:lnTo>
                    <a:pt x="283" y="2685"/>
                  </a:lnTo>
                  <a:lnTo>
                    <a:pt x="303" y="2716"/>
                  </a:lnTo>
                  <a:lnTo>
                    <a:pt x="323" y="2745"/>
                  </a:lnTo>
                  <a:lnTo>
                    <a:pt x="345" y="2774"/>
                  </a:lnTo>
                  <a:lnTo>
                    <a:pt x="367" y="2803"/>
                  </a:lnTo>
                  <a:lnTo>
                    <a:pt x="389" y="2831"/>
                  </a:lnTo>
                  <a:lnTo>
                    <a:pt x="412" y="2859"/>
                  </a:lnTo>
                  <a:lnTo>
                    <a:pt x="436" y="2886"/>
                  </a:lnTo>
                  <a:lnTo>
                    <a:pt x="460" y="2913"/>
                  </a:lnTo>
                  <a:lnTo>
                    <a:pt x="486" y="2939"/>
                  </a:lnTo>
                  <a:lnTo>
                    <a:pt x="511" y="2965"/>
                  </a:lnTo>
                  <a:lnTo>
                    <a:pt x="536" y="2990"/>
                  </a:lnTo>
                  <a:lnTo>
                    <a:pt x="563" y="3015"/>
                  </a:lnTo>
                  <a:lnTo>
                    <a:pt x="589" y="3039"/>
                  </a:lnTo>
                  <a:lnTo>
                    <a:pt x="617" y="3063"/>
                  </a:lnTo>
                  <a:lnTo>
                    <a:pt x="645" y="3086"/>
                  </a:lnTo>
                  <a:lnTo>
                    <a:pt x="673" y="3108"/>
                  </a:lnTo>
                  <a:lnTo>
                    <a:pt x="702" y="3130"/>
                  </a:lnTo>
                  <a:lnTo>
                    <a:pt x="730" y="3151"/>
                  </a:lnTo>
                  <a:lnTo>
                    <a:pt x="760" y="3172"/>
                  </a:lnTo>
                  <a:lnTo>
                    <a:pt x="791" y="3191"/>
                  </a:lnTo>
                  <a:lnTo>
                    <a:pt x="822" y="3211"/>
                  </a:lnTo>
                  <a:lnTo>
                    <a:pt x="852" y="3230"/>
                  </a:lnTo>
                  <a:lnTo>
                    <a:pt x="884" y="3248"/>
                  </a:lnTo>
                  <a:lnTo>
                    <a:pt x="916" y="3266"/>
                  </a:lnTo>
                  <a:lnTo>
                    <a:pt x="948" y="3283"/>
                  </a:lnTo>
                  <a:lnTo>
                    <a:pt x="981" y="3299"/>
                  </a:lnTo>
                  <a:lnTo>
                    <a:pt x="1014" y="3314"/>
                  </a:lnTo>
                  <a:lnTo>
                    <a:pt x="1046" y="3328"/>
                  </a:lnTo>
                  <a:lnTo>
                    <a:pt x="1080" y="3343"/>
                  </a:lnTo>
                  <a:lnTo>
                    <a:pt x="1114" y="3356"/>
                  </a:lnTo>
                  <a:lnTo>
                    <a:pt x="1149" y="3369"/>
                  </a:lnTo>
                  <a:lnTo>
                    <a:pt x="1184" y="3382"/>
                  </a:lnTo>
                  <a:lnTo>
                    <a:pt x="1219" y="3392"/>
                  </a:lnTo>
                  <a:lnTo>
                    <a:pt x="1254" y="3403"/>
                  </a:lnTo>
                  <a:lnTo>
                    <a:pt x="1290" y="3412"/>
                  </a:lnTo>
                  <a:lnTo>
                    <a:pt x="1326" y="3422"/>
                  </a:lnTo>
                  <a:lnTo>
                    <a:pt x="1362" y="3431"/>
                  </a:lnTo>
                  <a:lnTo>
                    <a:pt x="1362" y="1873"/>
                  </a:lnTo>
                  <a:lnTo>
                    <a:pt x="1365" y="1847"/>
                  </a:lnTo>
                  <a:lnTo>
                    <a:pt x="1374" y="1821"/>
                  </a:lnTo>
                  <a:lnTo>
                    <a:pt x="1387" y="1798"/>
                  </a:lnTo>
                  <a:lnTo>
                    <a:pt x="1403" y="1778"/>
                  </a:lnTo>
                  <a:lnTo>
                    <a:pt x="1423" y="1761"/>
                  </a:lnTo>
                  <a:lnTo>
                    <a:pt x="1446" y="1748"/>
                  </a:lnTo>
                  <a:lnTo>
                    <a:pt x="1470" y="1739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691" y="1735"/>
                  </a:lnTo>
                  <a:lnTo>
                    <a:pt x="1697" y="1735"/>
                  </a:lnTo>
                  <a:lnTo>
                    <a:pt x="1704" y="1735"/>
                  </a:lnTo>
                  <a:lnTo>
                    <a:pt x="1711" y="1735"/>
                  </a:lnTo>
                  <a:lnTo>
                    <a:pt x="1719" y="1734"/>
                  </a:lnTo>
                  <a:lnTo>
                    <a:pt x="1723" y="1733"/>
                  </a:lnTo>
                  <a:lnTo>
                    <a:pt x="1727" y="1732"/>
                  </a:lnTo>
                  <a:lnTo>
                    <a:pt x="1730" y="1729"/>
                  </a:lnTo>
                  <a:lnTo>
                    <a:pt x="1732" y="1727"/>
                  </a:lnTo>
                  <a:lnTo>
                    <a:pt x="1733" y="1724"/>
                  </a:lnTo>
                  <a:lnTo>
                    <a:pt x="1734" y="1720"/>
                  </a:lnTo>
                  <a:lnTo>
                    <a:pt x="1734" y="1717"/>
                  </a:lnTo>
                  <a:lnTo>
                    <a:pt x="1735" y="0"/>
                  </a:lnTo>
                  <a:close/>
                  <a:moveTo>
                    <a:pt x="1398" y="1431"/>
                  </a:moveTo>
                  <a:lnTo>
                    <a:pt x="1376" y="1430"/>
                  </a:lnTo>
                  <a:lnTo>
                    <a:pt x="1355" y="1427"/>
                  </a:lnTo>
                  <a:lnTo>
                    <a:pt x="1334" y="1421"/>
                  </a:lnTo>
                  <a:lnTo>
                    <a:pt x="1314" y="1414"/>
                  </a:lnTo>
                  <a:lnTo>
                    <a:pt x="1296" y="1404"/>
                  </a:lnTo>
                  <a:lnTo>
                    <a:pt x="1277" y="1394"/>
                  </a:lnTo>
                  <a:lnTo>
                    <a:pt x="1269" y="1387"/>
                  </a:lnTo>
                  <a:lnTo>
                    <a:pt x="1261" y="1381"/>
                  </a:lnTo>
                  <a:lnTo>
                    <a:pt x="1253" y="1375"/>
                  </a:lnTo>
                  <a:lnTo>
                    <a:pt x="1246" y="1367"/>
                  </a:lnTo>
                  <a:lnTo>
                    <a:pt x="1238" y="1360"/>
                  </a:lnTo>
                  <a:lnTo>
                    <a:pt x="1231" y="1352"/>
                  </a:lnTo>
                  <a:lnTo>
                    <a:pt x="1224" y="1344"/>
                  </a:lnTo>
                  <a:lnTo>
                    <a:pt x="1219" y="1335"/>
                  </a:lnTo>
                  <a:lnTo>
                    <a:pt x="1209" y="1317"/>
                  </a:lnTo>
                  <a:lnTo>
                    <a:pt x="1199" y="1298"/>
                  </a:lnTo>
                  <a:lnTo>
                    <a:pt x="1192" y="1279"/>
                  </a:lnTo>
                  <a:lnTo>
                    <a:pt x="1186" y="1258"/>
                  </a:lnTo>
                  <a:lnTo>
                    <a:pt x="1183" y="1236"/>
                  </a:lnTo>
                  <a:lnTo>
                    <a:pt x="1182" y="1214"/>
                  </a:lnTo>
                  <a:lnTo>
                    <a:pt x="1183" y="1192"/>
                  </a:lnTo>
                  <a:lnTo>
                    <a:pt x="1186" y="1170"/>
                  </a:lnTo>
                  <a:lnTo>
                    <a:pt x="1192" y="1149"/>
                  </a:lnTo>
                  <a:lnTo>
                    <a:pt x="1199" y="1130"/>
                  </a:lnTo>
                  <a:lnTo>
                    <a:pt x="1209" y="1111"/>
                  </a:lnTo>
                  <a:lnTo>
                    <a:pt x="1219" y="1093"/>
                  </a:lnTo>
                  <a:lnTo>
                    <a:pt x="1224" y="1084"/>
                  </a:lnTo>
                  <a:lnTo>
                    <a:pt x="1231" y="1076"/>
                  </a:lnTo>
                  <a:lnTo>
                    <a:pt x="1238" y="1068"/>
                  </a:lnTo>
                  <a:lnTo>
                    <a:pt x="1246" y="1061"/>
                  </a:lnTo>
                  <a:lnTo>
                    <a:pt x="1253" y="1053"/>
                  </a:lnTo>
                  <a:lnTo>
                    <a:pt x="1261" y="1047"/>
                  </a:lnTo>
                  <a:lnTo>
                    <a:pt x="1269" y="1041"/>
                  </a:lnTo>
                  <a:lnTo>
                    <a:pt x="1277" y="1034"/>
                  </a:lnTo>
                  <a:lnTo>
                    <a:pt x="1296" y="1024"/>
                  </a:lnTo>
                  <a:lnTo>
                    <a:pt x="1314" y="1014"/>
                  </a:lnTo>
                  <a:lnTo>
                    <a:pt x="1334" y="1007"/>
                  </a:lnTo>
                  <a:lnTo>
                    <a:pt x="1355" y="1001"/>
                  </a:lnTo>
                  <a:lnTo>
                    <a:pt x="1376" y="998"/>
                  </a:lnTo>
                  <a:lnTo>
                    <a:pt x="1398" y="997"/>
                  </a:lnTo>
                  <a:lnTo>
                    <a:pt x="1421" y="998"/>
                  </a:lnTo>
                  <a:lnTo>
                    <a:pt x="1442" y="1001"/>
                  </a:lnTo>
                  <a:lnTo>
                    <a:pt x="1462" y="1007"/>
                  </a:lnTo>
                  <a:lnTo>
                    <a:pt x="1482" y="1014"/>
                  </a:lnTo>
                  <a:lnTo>
                    <a:pt x="1501" y="1024"/>
                  </a:lnTo>
                  <a:lnTo>
                    <a:pt x="1519" y="1034"/>
                  </a:lnTo>
                  <a:lnTo>
                    <a:pt x="1528" y="1041"/>
                  </a:lnTo>
                  <a:lnTo>
                    <a:pt x="1535" y="1047"/>
                  </a:lnTo>
                  <a:lnTo>
                    <a:pt x="1544" y="1053"/>
                  </a:lnTo>
                  <a:lnTo>
                    <a:pt x="1551" y="1061"/>
                  </a:lnTo>
                  <a:lnTo>
                    <a:pt x="1558" y="1068"/>
                  </a:lnTo>
                  <a:lnTo>
                    <a:pt x="1565" y="1076"/>
                  </a:lnTo>
                  <a:lnTo>
                    <a:pt x="1571" y="1084"/>
                  </a:lnTo>
                  <a:lnTo>
                    <a:pt x="1578" y="1093"/>
                  </a:lnTo>
                  <a:lnTo>
                    <a:pt x="1588" y="1111"/>
                  </a:lnTo>
                  <a:lnTo>
                    <a:pt x="1598" y="1130"/>
                  </a:lnTo>
                  <a:lnTo>
                    <a:pt x="1604" y="1149"/>
                  </a:lnTo>
                  <a:lnTo>
                    <a:pt x="1609" y="1170"/>
                  </a:lnTo>
                  <a:lnTo>
                    <a:pt x="1614" y="1192"/>
                  </a:lnTo>
                  <a:lnTo>
                    <a:pt x="1615" y="1214"/>
                  </a:lnTo>
                  <a:lnTo>
                    <a:pt x="1614" y="1236"/>
                  </a:lnTo>
                  <a:lnTo>
                    <a:pt x="1609" y="1258"/>
                  </a:lnTo>
                  <a:lnTo>
                    <a:pt x="1604" y="1279"/>
                  </a:lnTo>
                  <a:lnTo>
                    <a:pt x="1598" y="1298"/>
                  </a:lnTo>
                  <a:lnTo>
                    <a:pt x="1588" y="1317"/>
                  </a:lnTo>
                  <a:lnTo>
                    <a:pt x="1578" y="1335"/>
                  </a:lnTo>
                  <a:lnTo>
                    <a:pt x="1571" y="1344"/>
                  </a:lnTo>
                  <a:lnTo>
                    <a:pt x="1565" y="1352"/>
                  </a:lnTo>
                  <a:lnTo>
                    <a:pt x="1558" y="1360"/>
                  </a:lnTo>
                  <a:lnTo>
                    <a:pt x="1551" y="1367"/>
                  </a:lnTo>
                  <a:lnTo>
                    <a:pt x="1544" y="1375"/>
                  </a:lnTo>
                  <a:lnTo>
                    <a:pt x="1535" y="1381"/>
                  </a:lnTo>
                  <a:lnTo>
                    <a:pt x="1528" y="1387"/>
                  </a:lnTo>
                  <a:lnTo>
                    <a:pt x="1519" y="1394"/>
                  </a:lnTo>
                  <a:lnTo>
                    <a:pt x="1501" y="1404"/>
                  </a:lnTo>
                  <a:lnTo>
                    <a:pt x="1482" y="1414"/>
                  </a:lnTo>
                  <a:lnTo>
                    <a:pt x="1462" y="1421"/>
                  </a:lnTo>
                  <a:lnTo>
                    <a:pt x="1442" y="1427"/>
                  </a:lnTo>
                  <a:lnTo>
                    <a:pt x="1421" y="1430"/>
                  </a:lnTo>
                  <a:lnTo>
                    <a:pt x="1398" y="143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latin typeface="PF DinDisplay Pro" panose="02000506030000020004" pitchFamily="2" charset="0"/>
              </a:endParaRPr>
            </a:p>
          </p:txBody>
        </p:sp>
      </p:grpSp>
      <p:cxnSp>
        <p:nvCxnSpPr>
          <p:cNvPr id="72" name="Прямая соединительная линия 71"/>
          <p:cNvCxnSpPr/>
          <p:nvPr/>
        </p:nvCxnSpPr>
        <p:spPr>
          <a:xfrm>
            <a:off x="0" y="971043"/>
            <a:ext cx="9906000" cy="0"/>
          </a:xfrm>
          <a:prstGeom prst="line">
            <a:avLst/>
          </a:prstGeom>
          <a:ln w="9525" cmpd="sng">
            <a:solidFill>
              <a:srgbClr val="6163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Прямоугольник 44"/>
          <p:cNvSpPr/>
          <p:nvPr/>
        </p:nvSpPr>
        <p:spPr bwMode="auto">
          <a:xfrm>
            <a:off x="10039953" y="9000"/>
            <a:ext cx="1188000" cy="6840000"/>
          </a:xfrm>
          <a:prstGeom prst="rect">
            <a:avLst/>
          </a:prstGeom>
          <a:solidFill>
            <a:srgbClr val="D6D7D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latin typeface="PF DinDisplay Pro" panose="02000506030000020004" pitchFamily="2" charset="0"/>
              <a:sym typeface="PF DinDisplay Pro" panose="02000506030000020004" pitchFamily="2" charset="0"/>
            </a:endParaRPr>
          </a:p>
        </p:txBody>
      </p:sp>
      <p:sp>
        <p:nvSpPr>
          <p:cNvPr id="47" name="Rectangle 5"/>
          <p:cNvSpPr/>
          <p:nvPr/>
        </p:nvSpPr>
        <p:spPr>
          <a:xfrm>
            <a:off x="9977874" y="120299"/>
            <a:ext cx="1198278" cy="28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dirty="0" smtClean="0">
                <a:solidFill>
                  <a:schemeClr val="bg1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RGB</a:t>
            </a:r>
            <a:r>
              <a:rPr lang="ru-RU" sz="1050" dirty="0" smtClean="0">
                <a:solidFill>
                  <a:schemeClr val="bg1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 </a:t>
            </a:r>
          </a:p>
          <a:p>
            <a:pPr algn="ctr"/>
            <a:r>
              <a:rPr lang="ru-RU" sz="900" dirty="0" smtClean="0">
                <a:solidFill>
                  <a:schemeClr val="bg1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цвета шрифта </a:t>
            </a:r>
            <a:endParaRPr lang="en-US" sz="900" dirty="0" smtClean="0">
              <a:solidFill>
                <a:schemeClr val="bg1"/>
              </a:solidFill>
              <a:latin typeface="PF DinDisplay Pro" panose="02000506030000020004" pitchFamily="2" charset="0"/>
              <a:sym typeface="PF DinDisplay Pro" panose="02000506030000020004" pitchFamily="2" charset="0"/>
            </a:endParaRPr>
          </a:p>
          <a:p>
            <a:pPr algn="ctr"/>
            <a:r>
              <a:rPr lang="ru-RU" sz="900" dirty="0" smtClean="0">
                <a:solidFill>
                  <a:schemeClr val="bg1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заголовка</a:t>
            </a:r>
            <a:endParaRPr lang="en-US" sz="900" dirty="0">
              <a:solidFill>
                <a:schemeClr val="bg1"/>
              </a:solidFill>
              <a:latin typeface="PF DinDisplay Pro" panose="02000506030000020004" pitchFamily="2" charset="0"/>
              <a:sym typeface="PF DinDisplay Pro" panose="02000506030000020004" pitchFamily="2" charset="0"/>
            </a:endParaRPr>
          </a:p>
        </p:txBody>
      </p:sp>
      <p:sp>
        <p:nvSpPr>
          <p:cNvPr id="48" name="Rectangle 5"/>
          <p:cNvSpPr/>
          <p:nvPr/>
        </p:nvSpPr>
        <p:spPr>
          <a:xfrm>
            <a:off x="10139029" y="504754"/>
            <a:ext cx="900000" cy="288000"/>
          </a:xfrm>
          <a:prstGeom prst="rect">
            <a:avLst/>
          </a:prstGeom>
          <a:solidFill>
            <a:srgbClr val="57068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800" dirty="0" smtClean="0">
                <a:solidFill>
                  <a:schemeClr val="tx1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087 006 140</a:t>
            </a:r>
            <a:endParaRPr lang="en-US" sz="800" dirty="0">
              <a:solidFill>
                <a:schemeClr val="tx1"/>
              </a:solidFill>
              <a:latin typeface="PF DinDisplay Pro" panose="02000506030000020004" pitchFamily="2" charset="0"/>
              <a:sym typeface="PF DinDisplay Pro" panose="02000506030000020004" pitchFamily="2" charset="0"/>
            </a:endParaRPr>
          </a:p>
        </p:txBody>
      </p:sp>
      <p:sp>
        <p:nvSpPr>
          <p:cNvPr id="49" name="Rectangle 5"/>
          <p:cNvSpPr/>
          <p:nvPr/>
        </p:nvSpPr>
        <p:spPr>
          <a:xfrm>
            <a:off x="9977872" y="821329"/>
            <a:ext cx="1209364" cy="28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dirty="0" smtClean="0">
                <a:solidFill>
                  <a:schemeClr val="bg1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RGB</a:t>
            </a:r>
            <a:r>
              <a:rPr lang="ru-RU" sz="1050" dirty="0" smtClean="0">
                <a:solidFill>
                  <a:schemeClr val="bg1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 </a:t>
            </a:r>
          </a:p>
          <a:p>
            <a:pPr algn="ctr"/>
            <a:r>
              <a:rPr lang="ru-RU" sz="900" dirty="0" smtClean="0">
                <a:solidFill>
                  <a:schemeClr val="bg1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цвета шрифта</a:t>
            </a:r>
            <a:endParaRPr lang="en-US" sz="900" dirty="0">
              <a:solidFill>
                <a:schemeClr val="bg1"/>
              </a:solidFill>
              <a:latin typeface="PF DinDisplay Pro" panose="02000506030000020004" pitchFamily="2" charset="0"/>
              <a:sym typeface="PF DinDisplay Pro" panose="02000506030000020004" pitchFamily="2" charset="0"/>
            </a:endParaRPr>
          </a:p>
        </p:txBody>
      </p:sp>
      <p:sp>
        <p:nvSpPr>
          <p:cNvPr id="50" name="Rectangle 5"/>
          <p:cNvSpPr/>
          <p:nvPr/>
        </p:nvSpPr>
        <p:spPr>
          <a:xfrm>
            <a:off x="10139029" y="1147461"/>
            <a:ext cx="900000" cy="288000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800" dirty="0" smtClean="0">
                <a:solidFill>
                  <a:schemeClr val="tx1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0 0 0 </a:t>
            </a:r>
            <a:endParaRPr lang="en-US" sz="800" dirty="0">
              <a:solidFill>
                <a:schemeClr val="tx1"/>
              </a:solidFill>
              <a:latin typeface="PF DinDisplay Pro" panose="02000506030000020004" pitchFamily="2" charset="0"/>
              <a:sym typeface="PF DinDisplay Pro" panose="02000506030000020004" pitchFamily="2" charset="0"/>
            </a:endParaRPr>
          </a:p>
        </p:txBody>
      </p:sp>
      <p:sp>
        <p:nvSpPr>
          <p:cNvPr id="84" name="Rectangle 6"/>
          <p:cNvSpPr/>
          <p:nvPr/>
        </p:nvSpPr>
        <p:spPr>
          <a:xfrm>
            <a:off x="10056006" y="1491377"/>
            <a:ext cx="527532" cy="446522"/>
          </a:xfrm>
          <a:prstGeom prst="rect">
            <a:avLst/>
          </a:prstGeom>
          <a:solidFill>
            <a:srgbClr val="00985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72866"/>
            <a:r>
              <a:rPr lang="en-US" sz="800" dirty="0" smtClean="0">
                <a:solidFill>
                  <a:prstClr val="white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R </a:t>
            </a:r>
            <a:r>
              <a:rPr lang="ru-RU" sz="800" dirty="0" smtClean="0">
                <a:solidFill>
                  <a:prstClr val="white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000</a:t>
            </a:r>
            <a:endParaRPr lang="en-US" sz="800" dirty="0" smtClean="0">
              <a:solidFill>
                <a:prstClr val="white"/>
              </a:solidFill>
              <a:latin typeface="PF DinDisplay Pro" panose="02000506030000020004" pitchFamily="2" charset="0"/>
              <a:sym typeface="PF DinDisplay Pro" panose="02000506030000020004" pitchFamily="2" charset="0"/>
            </a:endParaRPr>
          </a:p>
          <a:p>
            <a:pPr algn="ctr" defTabSz="1072866"/>
            <a:r>
              <a:rPr lang="en-US" sz="800" dirty="0" smtClean="0">
                <a:solidFill>
                  <a:prstClr val="white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G 152</a:t>
            </a:r>
          </a:p>
          <a:p>
            <a:pPr algn="ctr" defTabSz="1072866"/>
            <a:r>
              <a:rPr lang="en-US" sz="800" dirty="0" smtClean="0">
                <a:solidFill>
                  <a:prstClr val="white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B </a:t>
            </a:r>
            <a:r>
              <a:rPr lang="ru-RU" sz="800" dirty="0" smtClean="0">
                <a:solidFill>
                  <a:prstClr val="white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0</a:t>
            </a:r>
            <a:r>
              <a:rPr lang="en-US" sz="800" dirty="0" smtClean="0">
                <a:solidFill>
                  <a:prstClr val="white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95</a:t>
            </a:r>
            <a:endParaRPr lang="en-US" sz="800" dirty="0">
              <a:solidFill>
                <a:prstClr val="white"/>
              </a:solidFill>
              <a:latin typeface="PF DinDisplay Pro" panose="02000506030000020004" pitchFamily="2" charset="0"/>
              <a:sym typeface="PF DinDisplay Pro" panose="02000506030000020004" pitchFamily="2" charset="0"/>
            </a:endParaRPr>
          </a:p>
        </p:txBody>
      </p:sp>
      <p:sp>
        <p:nvSpPr>
          <p:cNvPr id="85" name="Rectangle 7"/>
          <p:cNvSpPr/>
          <p:nvPr/>
        </p:nvSpPr>
        <p:spPr>
          <a:xfrm>
            <a:off x="10666067" y="3461360"/>
            <a:ext cx="527532" cy="446522"/>
          </a:xfrm>
          <a:prstGeom prst="rect">
            <a:avLst/>
          </a:prstGeom>
          <a:solidFill>
            <a:srgbClr val="57068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72866"/>
            <a:r>
              <a:rPr lang="en-US" sz="800" dirty="0" smtClean="0">
                <a:solidFill>
                  <a:prstClr val="white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R </a:t>
            </a:r>
            <a:r>
              <a:rPr lang="ru-RU" sz="800" dirty="0" smtClean="0">
                <a:solidFill>
                  <a:prstClr val="white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0</a:t>
            </a:r>
            <a:r>
              <a:rPr lang="en-US" sz="800" dirty="0" smtClean="0">
                <a:solidFill>
                  <a:prstClr val="white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87</a:t>
            </a:r>
          </a:p>
          <a:p>
            <a:pPr algn="ctr" defTabSz="1072866"/>
            <a:r>
              <a:rPr lang="en-US" sz="800" dirty="0" smtClean="0">
                <a:solidFill>
                  <a:prstClr val="white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G</a:t>
            </a:r>
            <a:r>
              <a:rPr lang="ru-RU" sz="800" dirty="0" smtClean="0">
                <a:solidFill>
                  <a:prstClr val="white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 00</a:t>
            </a:r>
            <a:r>
              <a:rPr lang="en-US" sz="800" dirty="0" smtClean="0">
                <a:solidFill>
                  <a:prstClr val="white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6</a:t>
            </a:r>
          </a:p>
          <a:p>
            <a:pPr algn="ctr" defTabSz="1072866"/>
            <a:r>
              <a:rPr lang="en-US" sz="800" dirty="0" smtClean="0">
                <a:solidFill>
                  <a:prstClr val="white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B 140</a:t>
            </a:r>
            <a:endParaRPr lang="en-US" sz="800" dirty="0">
              <a:solidFill>
                <a:prstClr val="white"/>
              </a:solidFill>
              <a:latin typeface="PF DinDisplay Pro" panose="02000506030000020004" pitchFamily="2" charset="0"/>
              <a:sym typeface="PF DinDisplay Pro" panose="02000506030000020004" pitchFamily="2" charset="0"/>
            </a:endParaRPr>
          </a:p>
        </p:txBody>
      </p:sp>
      <p:sp>
        <p:nvSpPr>
          <p:cNvPr id="86" name="Rectangle 8"/>
          <p:cNvSpPr/>
          <p:nvPr/>
        </p:nvSpPr>
        <p:spPr>
          <a:xfrm>
            <a:off x="10666067" y="5061497"/>
            <a:ext cx="527532" cy="44652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defTabSz="1072866"/>
            <a:r>
              <a:rPr lang="en-US" sz="800" dirty="0" smtClean="0">
                <a:latin typeface="PF DinDisplay Pro" panose="02000506030000020004" pitchFamily="2" charset="0"/>
                <a:sym typeface="PF DinDisplay Pro" panose="02000506030000020004" pitchFamily="2" charset="0"/>
              </a:rPr>
              <a:t>R 097</a:t>
            </a:r>
          </a:p>
          <a:p>
            <a:pPr lvl="0" algn="ctr" defTabSz="1072866"/>
            <a:r>
              <a:rPr lang="en-US" sz="800" dirty="0" smtClean="0">
                <a:latin typeface="PF DinDisplay Pro" panose="02000506030000020004" pitchFamily="2" charset="0"/>
                <a:sym typeface="PF DinDisplay Pro" panose="02000506030000020004" pitchFamily="2" charset="0"/>
              </a:rPr>
              <a:t>G 099</a:t>
            </a:r>
          </a:p>
          <a:p>
            <a:pPr lvl="0" algn="ctr" defTabSz="1072866"/>
            <a:r>
              <a:rPr lang="en-US" sz="800" dirty="0" smtClean="0">
                <a:latin typeface="PF DinDisplay Pro" panose="02000506030000020004" pitchFamily="2" charset="0"/>
                <a:sym typeface="PF DinDisplay Pro" panose="02000506030000020004" pitchFamily="2" charset="0"/>
              </a:rPr>
              <a:t>B 101</a:t>
            </a:r>
            <a:endParaRPr lang="en-US" sz="800" dirty="0">
              <a:latin typeface="PF DinDisplay Pro" panose="02000506030000020004" pitchFamily="2" charset="0"/>
              <a:sym typeface="PF DinDisplay Pro" panose="02000506030000020004" pitchFamily="2" charset="0"/>
            </a:endParaRPr>
          </a:p>
        </p:txBody>
      </p:sp>
      <p:sp>
        <p:nvSpPr>
          <p:cNvPr id="87" name="Rectangle 62"/>
          <p:cNvSpPr/>
          <p:nvPr/>
        </p:nvSpPr>
        <p:spPr>
          <a:xfrm>
            <a:off x="10056006" y="1980019"/>
            <a:ext cx="527532" cy="446522"/>
          </a:xfrm>
          <a:prstGeom prst="rect">
            <a:avLst/>
          </a:prstGeom>
          <a:solidFill>
            <a:srgbClr val="00B3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72866"/>
            <a:r>
              <a:rPr lang="en-US" sz="800" dirty="0" smtClean="0">
                <a:solidFill>
                  <a:prstClr val="white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R </a:t>
            </a:r>
            <a:r>
              <a:rPr lang="ru-RU" sz="800" dirty="0" smtClean="0">
                <a:solidFill>
                  <a:prstClr val="white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00</a:t>
            </a:r>
            <a:r>
              <a:rPr lang="en-US" sz="800" dirty="0" smtClean="0">
                <a:solidFill>
                  <a:prstClr val="white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0</a:t>
            </a:r>
          </a:p>
          <a:p>
            <a:pPr algn="ctr" defTabSz="1072866"/>
            <a:r>
              <a:rPr lang="en-US" sz="800" dirty="0" smtClean="0">
                <a:solidFill>
                  <a:prstClr val="white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G 179</a:t>
            </a:r>
          </a:p>
          <a:p>
            <a:pPr algn="ctr" defTabSz="1072866"/>
            <a:r>
              <a:rPr lang="en-US" sz="800" dirty="0" smtClean="0">
                <a:solidFill>
                  <a:prstClr val="white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B 128</a:t>
            </a:r>
            <a:endParaRPr lang="en-US" sz="800" dirty="0">
              <a:solidFill>
                <a:prstClr val="white"/>
              </a:solidFill>
              <a:latin typeface="PF DinDisplay Pro" panose="02000506030000020004" pitchFamily="2" charset="0"/>
              <a:sym typeface="PF DinDisplay Pro" panose="02000506030000020004" pitchFamily="2" charset="0"/>
            </a:endParaRPr>
          </a:p>
        </p:txBody>
      </p:sp>
      <p:sp>
        <p:nvSpPr>
          <p:cNvPr id="88" name="Rectangle 63"/>
          <p:cNvSpPr/>
          <p:nvPr/>
        </p:nvSpPr>
        <p:spPr>
          <a:xfrm>
            <a:off x="10066928" y="3996193"/>
            <a:ext cx="527532" cy="446522"/>
          </a:xfrm>
          <a:prstGeom prst="rect">
            <a:avLst/>
          </a:prstGeom>
          <a:solidFill>
            <a:srgbClr val="7151A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72866"/>
            <a:r>
              <a:rPr lang="en-US" sz="800" dirty="0" smtClean="0">
                <a:solidFill>
                  <a:prstClr val="white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R 113</a:t>
            </a:r>
          </a:p>
          <a:p>
            <a:pPr algn="ctr" defTabSz="1072866"/>
            <a:r>
              <a:rPr lang="en-US" sz="800" dirty="0" smtClean="0">
                <a:solidFill>
                  <a:prstClr val="white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G </a:t>
            </a:r>
            <a:r>
              <a:rPr lang="ru-RU" sz="800" dirty="0" smtClean="0">
                <a:solidFill>
                  <a:prstClr val="white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0</a:t>
            </a:r>
            <a:r>
              <a:rPr lang="en-US" sz="800" dirty="0" smtClean="0">
                <a:solidFill>
                  <a:prstClr val="white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81</a:t>
            </a:r>
          </a:p>
          <a:p>
            <a:pPr algn="ctr" defTabSz="1072866"/>
            <a:r>
              <a:rPr lang="en-US" sz="800" dirty="0" smtClean="0">
                <a:solidFill>
                  <a:prstClr val="white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B 161</a:t>
            </a:r>
            <a:endParaRPr lang="en-US" sz="800" dirty="0">
              <a:solidFill>
                <a:prstClr val="white"/>
              </a:solidFill>
              <a:latin typeface="PF DinDisplay Pro" panose="02000506030000020004" pitchFamily="2" charset="0"/>
              <a:sym typeface="PF DinDisplay Pro" panose="02000506030000020004" pitchFamily="2" charset="0"/>
            </a:endParaRPr>
          </a:p>
        </p:txBody>
      </p:sp>
      <p:sp>
        <p:nvSpPr>
          <p:cNvPr id="89" name="Rectangle 64"/>
          <p:cNvSpPr/>
          <p:nvPr/>
        </p:nvSpPr>
        <p:spPr>
          <a:xfrm>
            <a:off x="10066928" y="5600692"/>
            <a:ext cx="527532" cy="446522"/>
          </a:xfrm>
          <a:prstGeom prst="rect">
            <a:avLst/>
          </a:prstGeom>
          <a:solidFill>
            <a:srgbClr val="888A8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72866"/>
            <a:r>
              <a:rPr lang="en-US" sz="800" dirty="0" smtClean="0">
                <a:solidFill>
                  <a:prstClr val="white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R 136</a:t>
            </a:r>
          </a:p>
          <a:p>
            <a:pPr algn="ctr" defTabSz="1072866"/>
            <a:r>
              <a:rPr lang="en-US" sz="800" dirty="0" smtClean="0">
                <a:solidFill>
                  <a:prstClr val="white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G 138</a:t>
            </a:r>
          </a:p>
          <a:p>
            <a:pPr algn="ctr" defTabSz="1072866"/>
            <a:r>
              <a:rPr lang="en-US" sz="800" dirty="0" smtClean="0">
                <a:solidFill>
                  <a:prstClr val="white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B 140</a:t>
            </a:r>
            <a:endParaRPr lang="en-US" sz="800" dirty="0">
              <a:solidFill>
                <a:prstClr val="white"/>
              </a:solidFill>
              <a:latin typeface="PF DinDisplay Pro" panose="02000506030000020004" pitchFamily="2" charset="0"/>
              <a:sym typeface="PF DinDisplay Pro" panose="02000506030000020004" pitchFamily="2" charset="0"/>
            </a:endParaRPr>
          </a:p>
        </p:txBody>
      </p:sp>
      <p:sp>
        <p:nvSpPr>
          <p:cNvPr id="90" name="Rectangle 68"/>
          <p:cNvSpPr/>
          <p:nvPr/>
        </p:nvSpPr>
        <p:spPr>
          <a:xfrm>
            <a:off x="10658104" y="1980019"/>
            <a:ext cx="527532" cy="446522"/>
          </a:xfrm>
          <a:prstGeom prst="rect">
            <a:avLst/>
          </a:prstGeom>
          <a:solidFill>
            <a:srgbClr val="64C2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72866"/>
            <a:r>
              <a:rPr lang="en-US" sz="800" dirty="0" smtClean="0">
                <a:solidFill>
                  <a:prstClr val="white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R 100</a:t>
            </a:r>
          </a:p>
          <a:p>
            <a:pPr algn="ctr" defTabSz="1072866"/>
            <a:r>
              <a:rPr lang="en-US" sz="800" dirty="0" smtClean="0">
                <a:solidFill>
                  <a:prstClr val="white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G 194</a:t>
            </a:r>
          </a:p>
          <a:p>
            <a:pPr algn="ctr" defTabSz="1072866"/>
            <a:r>
              <a:rPr lang="en-US" sz="800" dirty="0" smtClean="0">
                <a:solidFill>
                  <a:prstClr val="white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B 155</a:t>
            </a:r>
            <a:endParaRPr lang="en-US" sz="800" dirty="0">
              <a:solidFill>
                <a:prstClr val="white"/>
              </a:solidFill>
              <a:latin typeface="PF DinDisplay Pro" panose="02000506030000020004" pitchFamily="2" charset="0"/>
              <a:sym typeface="PF DinDisplay Pro" panose="02000506030000020004" pitchFamily="2" charset="0"/>
            </a:endParaRPr>
          </a:p>
        </p:txBody>
      </p:sp>
      <p:sp>
        <p:nvSpPr>
          <p:cNvPr id="91" name="Rectangle 69"/>
          <p:cNvSpPr/>
          <p:nvPr/>
        </p:nvSpPr>
        <p:spPr>
          <a:xfrm>
            <a:off x="10666067" y="3994739"/>
            <a:ext cx="527532" cy="446522"/>
          </a:xfrm>
          <a:prstGeom prst="rect">
            <a:avLst/>
          </a:prstGeom>
          <a:solidFill>
            <a:srgbClr val="8C73B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72866"/>
            <a:r>
              <a:rPr lang="en-US" sz="800" dirty="0" smtClean="0">
                <a:solidFill>
                  <a:prstClr val="white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R 140</a:t>
            </a:r>
          </a:p>
          <a:p>
            <a:pPr algn="ctr" defTabSz="1072866"/>
            <a:r>
              <a:rPr lang="en-US" sz="800" dirty="0" smtClean="0">
                <a:solidFill>
                  <a:prstClr val="white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G 115</a:t>
            </a:r>
          </a:p>
          <a:p>
            <a:pPr algn="ctr" defTabSz="1072866"/>
            <a:r>
              <a:rPr lang="en-US" sz="800" dirty="0" smtClean="0">
                <a:solidFill>
                  <a:prstClr val="white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B 180</a:t>
            </a:r>
            <a:endParaRPr lang="en-US" sz="800" dirty="0">
              <a:solidFill>
                <a:prstClr val="white"/>
              </a:solidFill>
              <a:latin typeface="PF DinDisplay Pro" panose="02000506030000020004" pitchFamily="2" charset="0"/>
              <a:sym typeface="PF DinDisplay Pro" panose="02000506030000020004" pitchFamily="2" charset="0"/>
            </a:endParaRPr>
          </a:p>
        </p:txBody>
      </p:sp>
      <p:sp>
        <p:nvSpPr>
          <p:cNvPr id="92" name="Rectangle 70"/>
          <p:cNvSpPr/>
          <p:nvPr/>
        </p:nvSpPr>
        <p:spPr>
          <a:xfrm>
            <a:off x="10066928" y="6135525"/>
            <a:ext cx="527532" cy="446522"/>
          </a:xfrm>
          <a:prstGeom prst="rect">
            <a:avLst/>
          </a:prstGeom>
          <a:solidFill>
            <a:srgbClr val="A3A5A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72866"/>
            <a:r>
              <a:rPr lang="en-US" sz="800" dirty="0" smtClean="0">
                <a:solidFill>
                  <a:prstClr val="white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R 163</a:t>
            </a:r>
          </a:p>
          <a:p>
            <a:pPr algn="ctr" defTabSz="1072866"/>
            <a:r>
              <a:rPr lang="en-US" sz="800" dirty="0" smtClean="0">
                <a:solidFill>
                  <a:prstClr val="white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G 165</a:t>
            </a:r>
          </a:p>
          <a:p>
            <a:pPr algn="ctr" defTabSz="1072866"/>
            <a:r>
              <a:rPr lang="en-US" sz="800" dirty="0" smtClean="0">
                <a:solidFill>
                  <a:prstClr val="white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B 168</a:t>
            </a:r>
            <a:endParaRPr lang="en-US" sz="800" dirty="0">
              <a:solidFill>
                <a:prstClr val="white"/>
              </a:solidFill>
              <a:latin typeface="PF DinDisplay Pro" panose="02000506030000020004" pitchFamily="2" charset="0"/>
              <a:sym typeface="PF DinDisplay Pro" panose="02000506030000020004" pitchFamily="2" charset="0"/>
            </a:endParaRPr>
          </a:p>
        </p:txBody>
      </p:sp>
      <p:sp>
        <p:nvSpPr>
          <p:cNvPr id="93" name="Rectangle 68"/>
          <p:cNvSpPr/>
          <p:nvPr/>
        </p:nvSpPr>
        <p:spPr>
          <a:xfrm>
            <a:off x="10056006" y="2468661"/>
            <a:ext cx="527532" cy="446522"/>
          </a:xfrm>
          <a:prstGeom prst="rect">
            <a:avLst/>
          </a:prstGeom>
          <a:solidFill>
            <a:srgbClr val="9AD4B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72866"/>
            <a:r>
              <a:rPr lang="en-US" sz="800" dirty="0" smtClean="0">
                <a:solidFill>
                  <a:schemeClr val="tx1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R 154</a:t>
            </a:r>
          </a:p>
          <a:p>
            <a:pPr algn="ctr" defTabSz="1072866"/>
            <a:r>
              <a:rPr lang="en-US" sz="800" dirty="0" smtClean="0">
                <a:solidFill>
                  <a:schemeClr val="tx1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G 212</a:t>
            </a:r>
          </a:p>
          <a:p>
            <a:pPr algn="ctr" defTabSz="1072866"/>
            <a:r>
              <a:rPr lang="en-US" sz="800" dirty="0" smtClean="0">
                <a:solidFill>
                  <a:schemeClr val="tx1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B 185</a:t>
            </a:r>
            <a:endParaRPr lang="en-US" sz="800" dirty="0">
              <a:solidFill>
                <a:schemeClr val="tx1"/>
              </a:solidFill>
              <a:latin typeface="PF DinDisplay Pro" panose="02000506030000020004" pitchFamily="2" charset="0"/>
              <a:sym typeface="PF DinDisplay Pro" panose="02000506030000020004" pitchFamily="2" charset="0"/>
            </a:endParaRPr>
          </a:p>
        </p:txBody>
      </p:sp>
      <p:sp>
        <p:nvSpPr>
          <p:cNvPr id="94" name="Rectangle 69"/>
          <p:cNvSpPr/>
          <p:nvPr/>
        </p:nvSpPr>
        <p:spPr>
          <a:xfrm>
            <a:off x="10066928" y="4531026"/>
            <a:ext cx="527532" cy="446522"/>
          </a:xfrm>
          <a:prstGeom prst="rect">
            <a:avLst/>
          </a:prstGeom>
          <a:solidFill>
            <a:srgbClr val="AB99C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72866"/>
            <a:r>
              <a:rPr lang="en-US" sz="800" dirty="0" smtClean="0">
                <a:solidFill>
                  <a:prstClr val="white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R 171</a:t>
            </a:r>
          </a:p>
          <a:p>
            <a:pPr algn="ctr" defTabSz="1072866"/>
            <a:r>
              <a:rPr lang="en-US" sz="800" dirty="0" smtClean="0">
                <a:solidFill>
                  <a:prstClr val="white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G 153</a:t>
            </a:r>
          </a:p>
          <a:p>
            <a:pPr algn="ctr" defTabSz="1072866"/>
            <a:r>
              <a:rPr lang="en-US" sz="800" dirty="0" smtClean="0">
                <a:solidFill>
                  <a:prstClr val="white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B 201</a:t>
            </a:r>
            <a:endParaRPr lang="en-US" sz="800" dirty="0">
              <a:solidFill>
                <a:prstClr val="white"/>
              </a:solidFill>
              <a:latin typeface="PF DinDisplay Pro" panose="02000506030000020004" pitchFamily="2" charset="0"/>
              <a:sym typeface="PF DinDisplay Pro" panose="02000506030000020004" pitchFamily="2" charset="0"/>
            </a:endParaRPr>
          </a:p>
        </p:txBody>
      </p:sp>
      <p:sp>
        <p:nvSpPr>
          <p:cNvPr id="95" name="Rectangle 70"/>
          <p:cNvSpPr/>
          <p:nvPr/>
        </p:nvSpPr>
        <p:spPr>
          <a:xfrm>
            <a:off x="10666067" y="5600692"/>
            <a:ext cx="527532" cy="446522"/>
          </a:xfrm>
          <a:prstGeom prst="rect">
            <a:avLst/>
          </a:prstGeom>
          <a:solidFill>
            <a:srgbClr val="C0C2C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72866"/>
            <a:r>
              <a:rPr lang="en-US" sz="800" dirty="0" smtClean="0">
                <a:solidFill>
                  <a:schemeClr val="tx1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R 192</a:t>
            </a:r>
          </a:p>
          <a:p>
            <a:pPr algn="ctr" defTabSz="1072866"/>
            <a:r>
              <a:rPr lang="en-US" sz="800" dirty="0" smtClean="0">
                <a:solidFill>
                  <a:schemeClr val="tx1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G 194</a:t>
            </a:r>
          </a:p>
          <a:p>
            <a:pPr algn="ctr" defTabSz="1072866"/>
            <a:r>
              <a:rPr lang="en-US" sz="800" dirty="0" smtClean="0">
                <a:solidFill>
                  <a:schemeClr val="tx1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B 196</a:t>
            </a:r>
            <a:endParaRPr lang="en-US" sz="800" dirty="0">
              <a:solidFill>
                <a:schemeClr val="tx1"/>
              </a:solidFill>
              <a:latin typeface="PF DinDisplay Pro" panose="02000506030000020004" pitchFamily="2" charset="0"/>
              <a:sym typeface="PF DinDisplay Pro" panose="02000506030000020004" pitchFamily="2" charset="0"/>
            </a:endParaRPr>
          </a:p>
        </p:txBody>
      </p:sp>
      <p:sp>
        <p:nvSpPr>
          <p:cNvPr id="96" name="Rectangle 68"/>
          <p:cNvSpPr/>
          <p:nvPr/>
        </p:nvSpPr>
        <p:spPr>
          <a:xfrm>
            <a:off x="10066928" y="2957304"/>
            <a:ext cx="527532" cy="446522"/>
          </a:xfrm>
          <a:prstGeom prst="rect">
            <a:avLst/>
          </a:prstGeom>
          <a:solidFill>
            <a:srgbClr val="CBE8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72866"/>
            <a:r>
              <a:rPr lang="en-US" sz="800" dirty="0" smtClean="0">
                <a:solidFill>
                  <a:prstClr val="black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R 203</a:t>
            </a:r>
          </a:p>
          <a:p>
            <a:pPr algn="ctr" defTabSz="1072866"/>
            <a:r>
              <a:rPr lang="en-US" sz="800" dirty="0" smtClean="0">
                <a:solidFill>
                  <a:prstClr val="black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G 232</a:t>
            </a:r>
          </a:p>
          <a:p>
            <a:pPr algn="ctr" defTabSz="1072866"/>
            <a:r>
              <a:rPr lang="en-US" sz="800" dirty="0" smtClean="0">
                <a:solidFill>
                  <a:prstClr val="black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B 217</a:t>
            </a:r>
            <a:endParaRPr lang="en-US" sz="800" dirty="0">
              <a:solidFill>
                <a:prstClr val="black"/>
              </a:solidFill>
              <a:latin typeface="PF DinDisplay Pro" panose="02000506030000020004" pitchFamily="2" charset="0"/>
              <a:sym typeface="PF DinDisplay Pro" panose="02000506030000020004" pitchFamily="2" charset="0"/>
            </a:endParaRPr>
          </a:p>
        </p:txBody>
      </p:sp>
      <p:sp>
        <p:nvSpPr>
          <p:cNvPr id="97" name="Rectangle 69"/>
          <p:cNvSpPr/>
          <p:nvPr/>
        </p:nvSpPr>
        <p:spPr>
          <a:xfrm>
            <a:off x="10666067" y="4528118"/>
            <a:ext cx="527532" cy="446522"/>
          </a:xfrm>
          <a:prstGeom prst="rect">
            <a:avLst/>
          </a:prstGeom>
          <a:solidFill>
            <a:srgbClr val="CFC7E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72866"/>
            <a:r>
              <a:rPr lang="en-US" sz="800" dirty="0" smtClean="0">
                <a:solidFill>
                  <a:prstClr val="black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R 207</a:t>
            </a:r>
          </a:p>
          <a:p>
            <a:pPr algn="ctr" defTabSz="1072866"/>
            <a:r>
              <a:rPr lang="en-US" sz="800" dirty="0" smtClean="0">
                <a:solidFill>
                  <a:prstClr val="black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G 199</a:t>
            </a:r>
          </a:p>
          <a:p>
            <a:pPr algn="ctr" defTabSz="1072866"/>
            <a:r>
              <a:rPr lang="en-US" sz="800" dirty="0" smtClean="0">
                <a:solidFill>
                  <a:prstClr val="black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B 227</a:t>
            </a:r>
            <a:endParaRPr lang="en-US" sz="800" dirty="0">
              <a:solidFill>
                <a:prstClr val="black"/>
              </a:solidFill>
              <a:latin typeface="PF DinDisplay Pro" panose="02000506030000020004" pitchFamily="2" charset="0"/>
              <a:sym typeface="PF DinDisplay Pro" panose="02000506030000020004" pitchFamily="2" charset="0"/>
            </a:endParaRPr>
          </a:p>
        </p:txBody>
      </p:sp>
      <p:sp>
        <p:nvSpPr>
          <p:cNvPr id="98" name="Rectangle 70"/>
          <p:cNvSpPr/>
          <p:nvPr/>
        </p:nvSpPr>
        <p:spPr>
          <a:xfrm>
            <a:off x="10673088" y="6139302"/>
            <a:ext cx="527532" cy="446522"/>
          </a:xfrm>
          <a:prstGeom prst="rect">
            <a:avLst/>
          </a:prstGeom>
          <a:solidFill>
            <a:srgbClr val="DEDF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72866"/>
            <a:r>
              <a:rPr lang="en-US" sz="800" dirty="0" smtClean="0">
                <a:solidFill>
                  <a:prstClr val="black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R 222</a:t>
            </a:r>
          </a:p>
          <a:p>
            <a:pPr algn="ctr" defTabSz="1072866"/>
            <a:r>
              <a:rPr lang="en-US" sz="800" dirty="0" smtClean="0">
                <a:solidFill>
                  <a:prstClr val="black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G 223</a:t>
            </a:r>
          </a:p>
          <a:p>
            <a:pPr algn="ctr" defTabSz="1072866"/>
            <a:r>
              <a:rPr lang="en-US" sz="800" dirty="0" smtClean="0">
                <a:solidFill>
                  <a:prstClr val="black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B 224</a:t>
            </a:r>
            <a:endParaRPr lang="en-US" sz="800" dirty="0">
              <a:solidFill>
                <a:prstClr val="black"/>
              </a:solidFill>
              <a:latin typeface="PF DinDisplay Pro" panose="02000506030000020004" pitchFamily="2" charset="0"/>
              <a:sym typeface="PF DinDisplay Pro" panose="02000506030000020004" pitchFamily="2" charset="0"/>
            </a:endParaRPr>
          </a:p>
        </p:txBody>
      </p:sp>
      <p:sp>
        <p:nvSpPr>
          <p:cNvPr id="99" name="Rectangle 6"/>
          <p:cNvSpPr/>
          <p:nvPr/>
        </p:nvSpPr>
        <p:spPr>
          <a:xfrm>
            <a:off x="10658104" y="2468661"/>
            <a:ext cx="527532" cy="446522"/>
          </a:xfrm>
          <a:prstGeom prst="rect">
            <a:avLst/>
          </a:prstGeom>
          <a:solidFill>
            <a:srgbClr val="A2DAC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72866"/>
            <a:r>
              <a:rPr lang="en-US" sz="800" dirty="0" smtClean="0">
                <a:solidFill>
                  <a:schemeClr val="tx1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R 162</a:t>
            </a:r>
          </a:p>
          <a:p>
            <a:pPr algn="ctr" defTabSz="1072866"/>
            <a:r>
              <a:rPr lang="en-US" sz="800" dirty="0" smtClean="0">
                <a:solidFill>
                  <a:schemeClr val="tx1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G 218</a:t>
            </a:r>
          </a:p>
          <a:p>
            <a:pPr algn="ctr" defTabSz="1072866"/>
            <a:r>
              <a:rPr lang="en-US" sz="800" dirty="0" smtClean="0">
                <a:solidFill>
                  <a:schemeClr val="tx1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B 195</a:t>
            </a:r>
            <a:endParaRPr lang="en-US" sz="800" dirty="0">
              <a:solidFill>
                <a:schemeClr val="tx1"/>
              </a:solidFill>
              <a:latin typeface="PF DinDisplay Pro" panose="02000506030000020004" pitchFamily="2" charset="0"/>
              <a:sym typeface="PF DinDisplay Pro" panose="02000506030000020004" pitchFamily="2" charset="0"/>
            </a:endParaRPr>
          </a:p>
        </p:txBody>
      </p:sp>
      <p:sp>
        <p:nvSpPr>
          <p:cNvPr id="100" name="Rectangle 62"/>
          <p:cNvSpPr/>
          <p:nvPr/>
        </p:nvSpPr>
        <p:spPr>
          <a:xfrm>
            <a:off x="10658104" y="1491377"/>
            <a:ext cx="527532" cy="446522"/>
          </a:xfrm>
          <a:prstGeom prst="rect">
            <a:avLst/>
          </a:prstGeom>
          <a:solidFill>
            <a:srgbClr val="3E9E7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72866"/>
            <a:r>
              <a:rPr lang="en-US" sz="800" dirty="0" smtClean="0">
                <a:solidFill>
                  <a:prstClr val="white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R 0</a:t>
            </a:r>
            <a:r>
              <a:rPr lang="ru-RU" sz="800" dirty="0" smtClean="0">
                <a:solidFill>
                  <a:prstClr val="white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62</a:t>
            </a:r>
            <a:endParaRPr lang="en-US" sz="800" dirty="0" smtClean="0">
              <a:solidFill>
                <a:prstClr val="white"/>
              </a:solidFill>
              <a:latin typeface="PF DinDisplay Pro" panose="02000506030000020004" pitchFamily="2" charset="0"/>
              <a:sym typeface="PF DinDisplay Pro" panose="02000506030000020004" pitchFamily="2" charset="0"/>
            </a:endParaRPr>
          </a:p>
          <a:p>
            <a:pPr algn="ctr" defTabSz="1072866"/>
            <a:r>
              <a:rPr lang="en-US" sz="800" dirty="0" smtClean="0">
                <a:solidFill>
                  <a:prstClr val="white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G </a:t>
            </a:r>
            <a:r>
              <a:rPr lang="ru-RU" sz="800" dirty="0" smtClean="0">
                <a:solidFill>
                  <a:prstClr val="white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158</a:t>
            </a:r>
            <a:endParaRPr lang="en-US" sz="800" dirty="0" smtClean="0">
              <a:solidFill>
                <a:prstClr val="white"/>
              </a:solidFill>
              <a:latin typeface="PF DinDisplay Pro" panose="02000506030000020004" pitchFamily="2" charset="0"/>
              <a:sym typeface="PF DinDisplay Pro" panose="02000506030000020004" pitchFamily="2" charset="0"/>
            </a:endParaRPr>
          </a:p>
          <a:p>
            <a:pPr algn="ctr" defTabSz="1072866"/>
            <a:r>
              <a:rPr lang="en-US" sz="800" dirty="0" smtClean="0">
                <a:solidFill>
                  <a:prstClr val="white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B </a:t>
            </a:r>
            <a:r>
              <a:rPr lang="ru-RU" sz="800" dirty="0" smtClean="0">
                <a:solidFill>
                  <a:prstClr val="white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118</a:t>
            </a:r>
            <a:endParaRPr lang="en-US" sz="800" dirty="0">
              <a:solidFill>
                <a:prstClr val="white"/>
              </a:solidFill>
              <a:latin typeface="PF DinDisplay Pro" panose="02000506030000020004" pitchFamily="2" charset="0"/>
              <a:sym typeface="PF DinDisplay Pro" panose="02000506030000020004" pitchFamily="2" charset="0"/>
            </a:endParaRPr>
          </a:p>
        </p:txBody>
      </p:sp>
      <p:sp>
        <p:nvSpPr>
          <p:cNvPr id="101" name="Rectangle 68"/>
          <p:cNvSpPr/>
          <p:nvPr/>
        </p:nvSpPr>
        <p:spPr>
          <a:xfrm>
            <a:off x="10658104" y="2957304"/>
            <a:ext cx="527532" cy="446522"/>
          </a:xfrm>
          <a:prstGeom prst="rect">
            <a:avLst/>
          </a:prstGeom>
          <a:solidFill>
            <a:srgbClr val="E0F3E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72866"/>
            <a:r>
              <a:rPr lang="en-US" sz="800" dirty="0" smtClean="0">
                <a:solidFill>
                  <a:prstClr val="black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R </a:t>
            </a:r>
            <a:r>
              <a:rPr lang="ru-RU" sz="800" dirty="0" smtClean="0">
                <a:solidFill>
                  <a:prstClr val="black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224</a:t>
            </a:r>
            <a:endParaRPr lang="en-US" sz="800" dirty="0" smtClean="0">
              <a:solidFill>
                <a:prstClr val="black"/>
              </a:solidFill>
              <a:latin typeface="PF DinDisplay Pro" panose="02000506030000020004" pitchFamily="2" charset="0"/>
              <a:sym typeface="PF DinDisplay Pro" panose="02000506030000020004" pitchFamily="2" charset="0"/>
            </a:endParaRPr>
          </a:p>
          <a:p>
            <a:pPr algn="ctr" defTabSz="1072866"/>
            <a:r>
              <a:rPr lang="en-US" sz="800" dirty="0" smtClean="0">
                <a:solidFill>
                  <a:prstClr val="black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G </a:t>
            </a:r>
            <a:r>
              <a:rPr lang="ru-RU" sz="800" dirty="0" smtClean="0">
                <a:solidFill>
                  <a:prstClr val="black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243</a:t>
            </a:r>
            <a:endParaRPr lang="en-US" sz="800" dirty="0" smtClean="0">
              <a:solidFill>
                <a:prstClr val="black"/>
              </a:solidFill>
              <a:latin typeface="PF DinDisplay Pro" panose="02000506030000020004" pitchFamily="2" charset="0"/>
              <a:sym typeface="PF DinDisplay Pro" panose="02000506030000020004" pitchFamily="2" charset="0"/>
            </a:endParaRPr>
          </a:p>
          <a:p>
            <a:pPr algn="ctr" defTabSz="1072866"/>
            <a:r>
              <a:rPr lang="en-US" sz="800" dirty="0" smtClean="0">
                <a:solidFill>
                  <a:prstClr val="black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B </a:t>
            </a:r>
            <a:r>
              <a:rPr lang="ru-RU" sz="800" dirty="0" smtClean="0">
                <a:solidFill>
                  <a:prstClr val="black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235</a:t>
            </a:r>
            <a:endParaRPr lang="en-US" sz="800" dirty="0">
              <a:solidFill>
                <a:prstClr val="black"/>
              </a:solidFill>
              <a:latin typeface="PF DinDisplay Pro" panose="02000506030000020004" pitchFamily="2" charset="0"/>
              <a:sym typeface="PF DinDisplay Pro" panose="02000506030000020004" pitchFamily="2" charset="0"/>
            </a:endParaRPr>
          </a:p>
        </p:txBody>
      </p:sp>
      <p:sp>
        <p:nvSpPr>
          <p:cNvPr id="102" name="Rectangle 69"/>
          <p:cNvSpPr/>
          <p:nvPr/>
        </p:nvSpPr>
        <p:spPr>
          <a:xfrm>
            <a:off x="10066928" y="3461360"/>
            <a:ext cx="527532" cy="446522"/>
          </a:xfrm>
          <a:prstGeom prst="rect">
            <a:avLst/>
          </a:prstGeom>
          <a:solidFill>
            <a:srgbClr val="553D7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72866"/>
            <a:r>
              <a:rPr lang="en-US" sz="800" dirty="0" smtClean="0">
                <a:solidFill>
                  <a:prstClr val="white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R </a:t>
            </a:r>
            <a:r>
              <a:rPr lang="ru-RU" sz="800" dirty="0" smtClean="0">
                <a:solidFill>
                  <a:prstClr val="white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085</a:t>
            </a:r>
            <a:endParaRPr lang="en-US" sz="800" dirty="0" smtClean="0">
              <a:solidFill>
                <a:prstClr val="white"/>
              </a:solidFill>
              <a:latin typeface="PF DinDisplay Pro" panose="02000506030000020004" pitchFamily="2" charset="0"/>
              <a:sym typeface="PF DinDisplay Pro" panose="02000506030000020004" pitchFamily="2" charset="0"/>
            </a:endParaRPr>
          </a:p>
          <a:p>
            <a:pPr algn="ctr" defTabSz="1072866"/>
            <a:r>
              <a:rPr lang="en-US" sz="800" dirty="0" smtClean="0">
                <a:solidFill>
                  <a:prstClr val="white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G </a:t>
            </a:r>
            <a:r>
              <a:rPr lang="ru-RU" sz="800" dirty="0" smtClean="0">
                <a:solidFill>
                  <a:prstClr val="white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061</a:t>
            </a:r>
            <a:endParaRPr lang="en-US" sz="800" dirty="0" smtClean="0">
              <a:solidFill>
                <a:prstClr val="white"/>
              </a:solidFill>
              <a:latin typeface="PF DinDisplay Pro" panose="02000506030000020004" pitchFamily="2" charset="0"/>
              <a:sym typeface="PF DinDisplay Pro" panose="02000506030000020004" pitchFamily="2" charset="0"/>
            </a:endParaRPr>
          </a:p>
          <a:p>
            <a:pPr algn="ctr" defTabSz="1072866"/>
            <a:r>
              <a:rPr lang="en-US" sz="800" dirty="0" smtClean="0">
                <a:solidFill>
                  <a:prstClr val="white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B </a:t>
            </a:r>
            <a:r>
              <a:rPr lang="ru-RU" sz="800" dirty="0" smtClean="0">
                <a:solidFill>
                  <a:prstClr val="white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121</a:t>
            </a:r>
            <a:endParaRPr lang="en-US" sz="800" dirty="0">
              <a:solidFill>
                <a:prstClr val="white"/>
              </a:solidFill>
              <a:latin typeface="PF DinDisplay Pro" panose="02000506030000020004" pitchFamily="2" charset="0"/>
              <a:sym typeface="PF DinDisplay Pro" panose="02000506030000020004" pitchFamily="2" charset="0"/>
            </a:endParaRPr>
          </a:p>
        </p:txBody>
      </p:sp>
      <p:sp>
        <p:nvSpPr>
          <p:cNvPr id="103" name="Rectangle 8"/>
          <p:cNvSpPr/>
          <p:nvPr/>
        </p:nvSpPr>
        <p:spPr>
          <a:xfrm>
            <a:off x="10066928" y="5065859"/>
            <a:ext cx="527532" cy="446522"/>
          </a:xfrm>
          <a:prstGeom prst="rect">
            <a:avLst/>
          </a:prstGeom>
          <a:solidFill>
            <a:srgbClr val="E2DBE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72866"/>
            <a:r>
              <a:rPr lang="en-US" sz="800" dirty="0" smtClean="0">
                <a:solidFill>
                  <a:srgbClr val="000000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R </a:t>
            </a:r>
            <a:r>
              <a:rPr lang="ru-RU" sz="800" dirty="0" smtClean="0">
                <a:solidFill>
                  <a:srgbClr val="000000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226</a:t>
            </a:r>
            <a:endParaRPr lang="en-US" sz="800" dirty="0" smtClean="0">
              <a:solidFill>
                <a:srgbClr val="000000"/>
              </a:solidFill>
              <a:latin typeface="PF DinDisplay Pro" panose="02000506030000020004" pitchFamily="2" charset="0"/>
              <a:sym typeface="PF DinDisplay Pro" panose="02000506030000020004" pitchFamily="2" charset="0"/>
            </a:endParaRPr>
          </a:p>
          <a:p>
            <a:pPr algn="ctr" defTabSz="1072866"/>
            <a:r>
              <a:rPr lang="en-US" sz="800" dirty="0" smtClean="0">
                <a:solidFill>
                  <a:srgbClr val="000000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G </a:t>
            </a:r>
            <a:r>
              <a:rPr lang="ru-RU" sz="800" dirty="0" smtClean="0">
                <a:solidFill>
                  <a:srgbClr val="000000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219</a:t>
            </a:r>
            <a:endParaRPr lang="en-US" sz="800" dirty="0" smtClean="0">
              <a:solidFill>
                <a:srgbClr val="000000"/>
              </a:solidFill>
              <a:latin typeface="PF DinDisplay Pro" panose="02000506030000020004" pitchFamily="2" charset="0"/>
              <a:sym typeface="PF DinDisplay Pro" panose="02000506030000020004" pitchFamily="2" charset="0"/>
            </a:endParaRPr>
          </a:p>
          <a:p>
            <a:pPr algn="ctr" defTabSz="1072866"/>
            <a:r>
              <a:rPr lang="en-US" sz="800" dirty="0" smtClean="0">
                <a:solidFill>
                  <a:srgbClr val="000000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B </a:t>
            </a:r>
            <a:r>
              <a:rPr lang="ru-RU" sz="800" dirty="0" smtClean="0">
                <a:solidFill>
                  <a:srgbClr val="000000"/>
                </a:solidFill>
                <a:latin typeface="PF DinDisplay Pro" panose="02000506030000020004" pitchFamily="2" charset="0"/>
                <a:sym typeface="PF DinDisplay Pro" panose="02000506030000020004" pitchFamily="2" charset="0"/>
              </a:rPr>
              <a:t>237</a:t>
            </a:r>
            <a:endParaRPr lang="en-US" sz="800" dirty="0">
              <a:solidFill>
                <a:srgbClr val="000000"/>
              </a:solidFill>
              <a:latin typeface="PF DinDisplay Pro" panose="02000506030000020004" pitchFamily="2" charset="0"/>
              <a:sym typeface="PF DinDisplay Pro" panose="02000506030000020004" pitchFamily="2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61412" y="1053312"/>
            <a:ext cx="9180000" cy="525600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marL="85725" lvl="0" indent="-857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57068C"/>
              </a:buClr>
              <a:buSzPct val="100000"/>
              <a:buFont typeface="WingDing"/>
              <a:buChar char="•"/>
            </a:pPr>
            <a:r>
              <a:rPr lang="ru-RU" dirty="0" smtClean="0"/>
              <a:t>Образец текста</a:t>
            </a:r>
          </a:p>
          <a:p>
            <a:pPr marL="85725" lvl="0" indent="-920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57068C"/>
              </a:buClr>
              <a:buSzPct val="100000"/>
              <a:buFont typeface="WingDing"/>
              <a:buChar char="•"/>
            </a:pPr>
            <a:r>
              <a:rPr lang="ru-RU" dirty="0" smtClean="0"/>
              <a:t>Второй уровень</a:t>
            </a:r>
          </a:p>
          <a:p>
            <a:pPr marL="85725" lvl="0" indent="-873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57068C"/>
              </a:buClr>
              <a:buSzPct val="100000"/>
              <a:buFont typeface="WingDing"/>
              <a:buChar char="•"/>
            </a:pPr>
            <a:r>
              <a:rPr lang="ru-RU" dirty="0" smtClean="0"/>
              <a:t>Трети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025518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57068C"/>
          </a:solidFill>
          <a:latin typeface="PF DinDisplay Pro" panose="02000506030000020004" pitchFamily="2" charset="0"/>
          <a:ea typeface="Verdana" panose="020B0604030504040204" pitchFamily="34" charset="0"/>
          <a:cs typeface="Verdana" panose="020B0604030504040204" pitchFamily="34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85725" indent="-85725" algn="l" rtl="0" eaLnBrk="1" fontAlgn="base" hangingPunct="1">
        <a:spcBef>
          <a:spcPct val="20000"/>
        </a:spcBef>
        <a:spcAft>
          <a:spcPct val="0"/>
        </a:spcAft>
        <a:buClrTx/>
        <a:buSzPct val="100000"/>
        <a:buFont typeface="WingDing"/>
        <a:buChar char="•"/>
        <a:defRPr sz="1200" b="0">
          <a:solidFill>
            <a:schemeClr val="tx1"/>
          </a:solidFill>
          <a:latin typeface="PF DinDisplay Pro" panose="02000506030000020004" pitchFamily="2" charset="0"/>
          <a:ea typeface="+mn-ea"/>
          <a:cs typeface="+mn-cs"/>
        </a:defRPr>
      </a:lvl1pPr>
      <a:lvl2pPr marL="269875" indent="-92075" algn="l" rtl="0" eaLnBrk="1" fontAlgn="base" hangingPunct="1">
        <a:spcBef>
          <a:spcPct val="20000"/>
        </a:spcBef>
        <a:spcAft>
          <a:spcPct val="0"/>
        </a:spcAft>
        <a:buClrTx/>
        <a:buSzPct val="100000"/>
        <a:buFont typeface="WingDing"/>
        <a:buChar char="•"/>
        <a:defRPr sz="1200" b="0">
          <a:solidFill>
            <a:schemeClr val="tx1"/>
          </a:solidFill>
          <a:latin typeface="PF DinDisplay Pro" panose="02000506030000020004" pitchFamily="2" charset="0"/>
        </a:defRPr>
      </a:lvl2pPr>
      <a:lvl3pPr marL="627063" indent="-87313" algn="l" rtl="0" eaLnBrk="1" fontAlgn="base" hangingPunct="1">
        <a:spcBef>
          <a:spcPct val="20000"/>
        </a:spcBef>
        <a:spcAft>
          <a:spcPct val="0"/>
        </a:spcAft>
        <a:buClrTx/>
        <a:buSzPct val="100000"/>
        <a:buFont typeface="WingDing"/>
        <a:buChar char="•"/>
        <a:defRPr sz="1200" b="0" baseline="0">
          <a:solidFill>
            <a:schemeClr val="tx1"/>
          </a:solidFill>
          <a:latin typeface="PF DinDisplay Pro" panose="02000506030000020004" pitchFamily="2" charset="0"/>
        </a:defRPr>
      </a:lvl3pPr>
      <a:lvl4pPr marL="714375" indent="-171450" algn="l" rtl="0" eaLnBrk="1" fontAlgn="base" hangingPunct="1">
        <a:spcBef>
          <a:spcPct val="20000"/>
        </a:spcBef>
        <a:spcAft>
          <a:spcPct val="0"/>
        </a:spcAft>
        <a:buClr>
          <a:srgbClr val="3F9C35"/>
        </a:buClr>
        <a:buSzPct val="50000"/>
        <a:buFont typeface="Courier New" panose="02070309020205020404" pitchFamily="49" charset="0"/>
        <a:buChar char="o"/>
        <a:defRPr sz="1200">
          <a:solidFill>
            <a:srgbClr val="000000"/>
          </a:solidFill>
          <a:latin typeface="+mn-lt"/>
        </a:defRPr>
      </a:lvl4pPr>
      <a:lvl5pPr marL="895350" indent="-171450" algn="l" rtl="0" eaLnBrk="1" fontAlgn="base" hangingPunct="1">
        <a:spcBef>
          <a:spcPts val="600"/>
        </a:spcBef>
        <a:spcAft>
          <a:spcPct val="0"/>
        </a:spcAft>
        <a:buClr>
          <a:srgbClr val="3F9C35"/>
        </a:buClr>
        <a:buSzPct val="100000"/>
        <a:buFont typeface="Arial" pitchFamily="34" charset="0"/>
        <a:buChar char="–"/>
        <a:defRPr sz="1200">
          <a:solidFill>
            <a:srgbClr val="000000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3119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618">
          <p15:clr>
            <a:srgbClr val="F26B43"/>
          </p15:clr>
        </p15:guide>
        <p15:guide id="4" pos="216">
          <p15:clr>
            <a:srgbClr val="F26B43"/>
          </p15:clr>
        </p15:guide>
        <p15:guide id="5" pos="6022">
          <p15:clr>
            <a:srgbClr val="F26B43"/>
          </p15:clr>
        </p15:guide>
        <p15:guide id="6" orient="horz" pos="663">
          <p15:clr>
            <a:srgbClr val="F26B43"/>
          </p15:clr>
        </p15:guide>
        <p15:guide id="7" orient="horz" pos="3974">
          <p15:clr>
            <a:srgbClr val="F26B43"/>
          </p15:clr>
        </p15:guide>
        <p15:guide id="8" pos="3210">
          <p15:clr>
            <a:srgbClr val="F26B43"/>
          </p15:clr>
        </p15:guide>
        <p15:guide id="9" pos="3028">
          <p15:clr>
            <a:srgbClr val="F26B43"/>
          </p15:clr>
        </p15:guide>
        <p15:guide id="10" orient="horz" pos="102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716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884" y="0"/>
            <a:ext cx="8673893" cy="936000"/>
          </a:xfrm>
        </p:spPr>
        <p:txBody>
          <a:bodyPr/>
          <a:lstStyle/>
          <a:p>
            <a:r>
              <a:rPr lang="ru-RU" dirty="0" smtClean="0"/>
              <a:t>374-ФЗ: роль операторов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9367106" y="6253464"/>
            <a:ext cx="400292" cy="231873"/>
          </a:xfrm>
        </p:spPr>
        <p:txBody>
          <a:bodyPr/>
          <a:lstStyle/>
          <a:p>
            <a:fld id="{98B4E4F1-47F5-42BB-BD7E-414202C1F421}" type="slidenum">
              <a:rPr lang="ru-RU" smtClean="0"/>
              <a:pPr/>
              <a:t>1</a:t>
            </a:fld>
            <a:endParaRPr lang="ru-RU" dirty="0"/>
          </a:p>
        </p:txBody>
      </p:sp>
      <p:sp>
        <p:nvSpPr>
          <p:cNvPr id="13" name="TextBox 12"/>
          <p:cNvSpPr txBox="1"/>
          <p:nvPr/>
        </p:nvSpPr>
        <p:spPr>
          <a:xfrm>
            <a:off x="198884" y="1586404"/>
            <a:ext cx="9596006" cy="340093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just">
              <a:spcAft>
                <a:spcPts val="600"/>
              </a:spcAft>
              <a:buClr>
                <a:srgbClr val="57068C"/>
              </a:buClr>
              <a:buSzPct val="100000"/>
            </a:pPr>
            <a:r>
              <a:rPr lang="ru-RU" dirty="0" smtClean="0">
                <a:solidFill>
                  <a:srgbClr val="000000"/>
                </a:solidFill>
                <a:latin typeface="PF DinDisplay Pro" panose="02000506030000020004" pitchFamily="2" charset="0"/>
                <a:ea typeface="Verdana" panose="020B0604030504040204" pitchFamily="34" charset="0"/>
                <a:cs typeface="Verdana" panose="020B0604030504040204" pitchFamily="34" charset="0"/>
              </a:rPr>
              <a:t>В соответствии с 374-ФЗ операторы связи начинают выполнять государственную функцию по хранению трафика не для оказания услуг связи, а для борьбы с терроризмом и обеспечения общественной безопасности</a:t>
            </a:r>
          </a:p>
          <a:p>
            <a:pPr algn="just">
              <a:spcAft>
                <a:spcPts val="600"/>
              </a:spcAft>
              <a:buClr>
                <a:srgbClr val="57068C"/>
              </a:buClr>
              <a:buSzPct val="100000"/>
            </a:pPr>
            <a:endParaRPr lang="ru-RU" dirty="0">
              <a:solidFill>
                <a:srgbClr val="000000"/>
              </a:solidFill>
              <a:latin typeface="PF DinDisplay Pro" panose="02000506030000020004" pitchFamily="2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just">
              <a:spcAft>
                <a:spcPts val="600"/>
              </a:spcAft>
              <a:buClr>
                <a:srgbClr val="57068C"/>
              </a:buClr>
              <a:buSzPct val="100000"/>
            </a:pPr>
            <a:r>
              <a:rPr lang="ru-RU" dirty="0" smtClean="0">
                <a:solidFill>
                  <a:srgbClr val="000000"/>
                </a:solidFill>
                <a:latin typeface="PF DinDisplay Pro" panose="02000506030000020004" pitchFamily="2" charset="0"/>
                <a:ea typeface="Verdana" panose="020B0604030504040204" pitchFamily="34" charset="0"/>
                <a:cs typeface="Verdana" panose="020B0604030504040204" pitchFamily="34" charset="0"/>
              </a:rPr>
              <a:t>Предполагаются расходы превышающие доходы отрасли</a:t>
            </a:r>
          </a:p>
          <a:p>
            <a:pPr algn="just">
              <a:spcAft>
                <a:spcPts val="600"/>
              </a:spcAft>
              <a:buClr>
                <a:srgbClr val="57068C"/>
              </a:buClr>
              <a:buSzPct val="100000"/>
            </a:pPr>
            <a:endParaRPr lang="ru-RU" dirty="0">
              <a:solidFill>
                <a:srgbClr val="000000"/>
              </a:solidFill>
              <a:latin typeface="PF DinDisplay Pro" panose="02000506030000020004" pitchFamily="2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just">
              <a:spcAft>
                <a:spcPts val="600"/>
              </a:spcAft>
              <a:buClr>
                <a:srgbClr val="57068C"/>
              </a:buClr>
              <a:buSzPct val="100000"/>
            </a:pPr>
            <a:r>
              <a:rPr lang="ru-RU" dirty="0" smtClean="0">
                <a:solidFill>
                  <a:srgbClr val="000000"/>
                </a:solidFill>
                <a:latin typeface="PF DinDisplay Pro" panose="02000506030000020004" pitchFamily="2" charset="0"/>
                <a:ea typeface="Verdana" panose="020B0604030504040204" pitchFamily="34" charset="0"/>
                <a:cs typeface="Verdana" panose="020B0604030504040204" pitchFamily="34" charset="0"/>
              </a:rPr>
              <a:t>Бенефициарами создания систем хранения выступают государство и общество</a:t>
            </a:r>
          </a:p>
          <a:p>
            <a:pPr algn="just">
              <a:spcAft>
                <a:spcPts val="600"/>
              </a:spcAft>
              <a:buClr>
                <a:srgbClr val="57068C"/>
              </a:buClr>
              <a:buSzPct val="100000"/>
            </a:pPr>
            <a:endParaRPr lang="ru-RU" dirty="0">
              <a:solidFill>
                <a:srgbClr val="000000"/>
              </a:solidFill>
              <a:latin typeface="PF DinDisplay Pro" panose="02000506030000020004" pitchFamily="2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just">
              <a:spcAft>
                <a:spcPts val="600"/>
              </a:spcAft>
              <a:buClr>
                <a:srgbClr val="57068C"/>
              </a:buClr>
              <a:buSzPct val="100000"/>
            </a:pPr>
            <a:endParaRPr lang="ru-RU" dirty="0">
              <a:solidFill>
                <a:srgbClr val="000000"/>
              </a:solidFill>
              <a:latin typeface="PF DinDisplay Pro" panose="02000506030000020004" pitchFamily="2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just">
              <a:spcAft>
                <a:spcPts val="600"/>
              </a:spcAft>
              <a:buClr>
                <a:srgbClr val="57068C"/>
              </a:buClr>
              <a:buSzPct val="100000"/>
            </a:pPr>
            <a:r>
              <a:rPr lang="ru-RU" dirty="0">
                <a:solidFill>
                  <a:srgbClr val="000000"/>
                </a:solidFill>
                <a:latin typeface="PF DinDisplay Pro" panose="02000506030000020004" pitchFamily="2" charset="0"/>
                <a:ea typeface="Verdana" panose="020B0604030504040204" pitchFamily="34" charset="0"/>
                <a:cs typeface="Verdana" panose="020B0604030504040204" pitchFamily="34" charset="0"/>
              </a:rPr>
              <a:t>		</a:t>
            </a:r>
          </a:p>
        </p:txBody>
      </p:sp>
      <p:sp>
        <p:nvSpPr>
          <p:cNvPr id="7" name="Стрелка вправо 6"/>
          <p:cNvSpPr/>
          <p:nvPr/>
        </p:nvSpPr>
        <p:spPr bwMode="auto">
          <a:xfrm>
            <a:off x="402950" y="4987335"/>
            <a:ext cx="1584176" cy="864096"/>
          </a:xfrm>
          <a:prstGeom prst="rightArrow">
            <a:avLst/>
          </a:prstGeom>
          <a:solidFill>
            <a:srgbClr val="00985F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0" cap="flat" cmpd="sng" algn="ctr">
                <a:solidFill>
                  <a:srgbClr val="7F7F7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000000"/>
              </a:solidFill>
              <a:latin typeface="PF DinDisplay Pro" panose="02000506030000020004" pitchFamily="2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284128" y="4917421"/>
            <a:ext cx="727621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  <a:buClr>
                <a:srgbClr val="57068C"/>
              </a:buClr>
              <a:buSzPct val="100000"/>
            </a:pPr>
            <a:r>
              <a:rPr lang="ru-RU" dirty="0">
                <a:solidFill>
                  <a:srgbClr val="000000"/>
                </a:solidFill>
                <a:latin typeface="PF DinDisplay Pro" panose="02000506030000020004" pitchFamily="2" charset="0"/>
                <a:ea typeface="Verdana" panose="020B0604030504040204" pitchFamily="34" charset="0"/>
                <a:cs typeface="Verdana" panose="020B0604030504040204" pitchFamily="34" charset="0"/>
              </a:rPr>
              <a:t>В целях реализации требований 374-ФЗ целесообразно заключение концессионного </a:t>
            </a:r>
            <a:r>
              <a:rPr lang="ru-RU" dirty="0" smtClean="0">
                <a:solidFill>
                  <a:srgbClr val="000000"/>
                </a:solidFill>
                <a:latin typeface="PF DinDisplay Pro" panose="02000506030000020004" pitchFamily="2" charset="0"/>
                <a:ea typeface="Verdana" panose="020B0604030504040204" pitchFamily="34" charset="0"/>
                <a:cs typeface="Verdana" panose="020B0604030504040204" pitchFamily="34" charset="0"/>
              </a:rPr>
              <a:t>соглашения между </a:t>
            </a:r>
            <a:r>
              <a:rPr lang="ru-RU" dirty="0">
                <a:solidFill>
                  <a:srgbClr val="000000"/>
                </a:solidFill>
                <a:latin typeface="PF DinDisplay Pro" panose="02000506030000020004" pitchFamily="2" charset="0"/>
                <a:ea typeface="Verdana" panose="020B0604030504040204" pitchFamily="34" charset="0"/>
                <a:cs typeface="Verdana" panose="020B0604030504040204" pitchFamily="34" charset="0"/>
              </a:rPr>
              <a:t>Российской Федерацией и операторами связи на создание, модернизацию и </a:t>
            </a:r>
            <a:r>
              <a:rPr lang="ru-RU" dirty="0" smtClean="0">
                <a:solidFill>
                  <a:srgbClr val="000000"/>
                </a:solidFill>
                <a:latin typeface="PF DinDisplay Pro" panose="02000506030000020004" pitchFamily="2" charset="0"/>
                <a:ea typeface="Verdana" panose="020B0604030504040204" pitchFamily="34" charset="0"/>
                <a:cs typeface="Verdana" panose="020B0604030504040204" pitchFamily="34" charset="0"/>
              </a:rPr>
              <a:t>эксплуатацию </a:t>
            </a:r>
            <a:r>
              <a:rPr lang="ru-RU" dirty="0">
                <a:solidFill>
                  <a:srgbClr val="000000"/>
                </a:solidFill>
                <a:latin typeface="PF DinDisplay Pro" panose="02000506030000020004" pitchFamily="2" charset="0"/>
                <a:ea typeface="Verdana" panose="020B0604030504040204" pitchFamily="34" charset="0"/>
                <a:cs typeface="Verdana" panose="020B0604030504040204" pitchFamily="34" charset="0"/>
              </a:rPr>
              <a:t>систем, необходимых для реализации требований по хранению </a:t>
            </a:r>
            <a:r>
              <a:rPr lang="ru-RU" dirty="0" smtClean="0">
                <a:solidFill>
                  <a:srgbClr val="000000"/>
                </a:solidFill>
                <a:latin typeface="PF DinDisplay Pro" panose="02000506030000020004" pitchFamily="2" charset="0"/>
                <a:ea typeface="Verdana" panose="020B0604030504040204" pitchFamily="34" charset="0"/>
                <a:cs typeface="Verdana" panose="020B0604030504040204" pitchFamily="34" charset="0"/>
              </a:rPr>
              <a:t>трафика</a:t>
            </a:r>
            <a:endParaRPr lang="ru-RU" dirty="0">
              <a:solidFill>
                <a:srgbClr val="000000"/>
              </a:solidFill>
              <a:latin typeface="PF DinDisplay Pro" panose="02000506030000020004" pitchFamily="2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7427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2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884" y="0"/>
            <a:ext cx="8673893" cy="936000"/>
          </a:xfrm>
        </p:spPr>
        <p:txBody>
          <a:bodyPr/>
          <a:lstStyle/>
          <a:p>
            <a:r>
              <a:rPr lang="ru-RU" dirty="0" smtClean="0"/>
              <a:t>Модели финансирования в рамках концессионных соглашений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9367106" y="6253464"/>
            <a:ext cx="400292" cy="231873"/>
          </a:xfrm>
        </p:spPr>
        <p:txBody>
          <a:bodyPr/>
          <a:lstStyle/>
          <a:p>
            <a:fld id="{98B4E4F1-47F5-42BB-BD7E-414202C1F421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13" name="TextBox 12"/>
          <p:cNvSpPr txBox="1"/>
          <p:nvPr/>
        </p:nvSpPr>
        <p:spPr>
          <a:xfrm>
            <a:off x="198884" y="1586404"/>
            <a:ext cx="9596006" cy="5678478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just">
              <a:spcAft>
                <a:spcPts val="600"/>
              </a:spcAft>
              <a:buClr>
                <a:srgbClr val="57068C"/>
              </a:buClr>
              <a:buSzPct val="100000"/>
            </a:pPr>
            <a:r>
              <a:rPr lang="ru-RU" dirty="0" smtClean="0">
                <a:solidFill>
                  <a:srgbClr val="000000"/>
                </a:solidFill>
                <a:latin typeface="PF DinDisplay Pro" panose="02000506030000020004" pitchFamily="2" charset="0"/>
                <a:ea typeface="Verdana" panose="020B0604030504040204" pitchFamily="34" charset="0"/>
                <a:cs typeface="Verdana" panose="020B0604030504040204" pitchFamily="34" charset="0"/>
              </a:rPr>
              <a:t>Законодательство предусматривает следующие возможности финансирования:</a:t>
            </a:r>
          </a:p>
          <a:p>
            <a:pPr algn="just">
              <a:spcAft>
                <a:spcPts val="600"/>
              </a:spcAft>
              <a:buClr>
                <a:srgbClr val="57068C"/>
              </a:buClr>
              <a:buSzPct val="100000"/>
            </a:pPr>
            <a:endParaRPr lang="ru-RU" dirty="0" smtClean="0">
              <a:solidFill>
                <a:srgbClr val="000000"/>
              </a:solidFill>
              <a:latin typeface="PF DinDisplay Pro" panose="02000506030000020004" pitchFamily="2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just">
              <a:spcAft>
                <a:spcPts val="600"/>
              </a:spcAft>
              <a:buClr>
                <a:srgbClr val="57068C"/>
              </a:buClr>
              <a:buSzPct val="100000"/>
            </a:pPr>
            <a:endParaRPr lang="ru-RU" dirty="0">
              <a:solidFill>
                <a:srgbClr val="000000"/>
              </a:solidFill>
              <a:latin typeface="PF DinDisplay Pro" panose="02000506030000020004" pitchFamily="2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just">
              <a:spcAft>
                <a:spcPts val="600"/>
              </a:spcAft>
              <a:buClr>
                <a:srgbClr val="57068C"/>
              </a:buClr>
              <a:buSzPct val="100000"/>
            </a:pPr>
            <a:endParaRPr lang="ru-RU" dirty="0" smtClean="0">
              <a:solidFill>
                <a:srgbClr val="000000"/>
              </a:solidFill>
              <a:latin typeface="PF DinDisplay Pro" panose="02000506030000020004" pitchFamily="2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just">
              <a:spcAft>
                <a:spcPts val="600"/>
              </a:spcAft>
              <a:buClr>
                <a:srgbClr val="57068C"/>
              </a:buClr>
              <a:buSzPct val="100000"/>
            </a:pPr>
            <a:endParaRPr lang="ru-RU" dirty="0">
              <a:solidFill>
                <a:srgbClr val="000000"/>
              </a:solidFill>
              <a:latin typeface="PF DinDisplay Pro" panose="02000506030000020004" pitchFamily="2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just">
              <a:spcAft>
                <a:spcPts val="600"/>
              </a:spcAft>
              <a:buClr>
                <a:srgbClr val="57068C"/>
              </a:buClr>
              <a:buSzPct val="100000"/>
            </a:pPr>
            <a:endParaRPr lang="ru-RU" dirty="0" smtClean="0">
              <a:solidFill>
                <a:srgbClr val="000000"/>
              </a:solidFill>
              <a:latin typeface="PF DinDisplay Pro" panose="02000506030000020004" pitchFamily="2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just">
              <a:spcAft>
                <a:spcPts val="600"/>
              </a:spcAft>
              <a:buClr>
                <a:srgbClr val="57068C"/>
              </a:buClr>
              <a:buSzPct val="100000"/>
            </a:pPr>
            <a:endParaRPr lang="ru-RU" dirty="0" smtClean="0">
              <a:solidFill>
                <a:srgbClr val="000000"/>
              </a:solidFill>
              <a:latin typeface="PF DinDisplay Pro" panose="02000506030000020004" pitchFamily="2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just">
              <a:spcAft>
                <a:spcPts val="600"/>
              </a:spcAft>
              <a:buClr>
                <a:srgbClr val="57068C"/>
              </a:buClr>
              <a:buSzPct val="100000"/>
            </a:pPr>
            <a:endParaRPr lang="ru-RU" dirty="0">
              <a:solidFill>
                <a:srgbClr val="000000"/>
              </a:solidFill>
              <a:latin typeface="PF DinDisplay Pro" panose="02000506030000020004" pitchFamily="2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just">
              <a:spcAft>
                <a:spcPts val="600"/>
              </a:spcAft>
              <a:buClr>
                <a:srgbClr val="57068C"/>
              </a:buClr>
              <a:buSzPct val="100000"/>
            </a:pPr>
            <a:r>
              <a:rPr lang="ru-RU" dirty="0" smtClean="0">
                <a:solidFill>
                  <a:srgbClr val="000000"/>
                </a:solidFill>
                <a:latin typeface="PF DinDisplay Pro" panose="02000506030000020004" pitchFamily="2" charset="0"/>
                <a:ea typeface="Verdana" panose="020B0604030504040204" pitchFamily="34" charset="0"/>
                <a:cs typeface="Verdana" panose="020B0604030504040204" pitchFamily="34" charset="0"/>
              </a:rPr>
              <a:t>Созданные объекты передаются в собственность Российской Федерации</a:t>
            </a:r>
          </a:p>
          <a:p>
            <a:pPr algn="just">
              <a:spcAft>
                <a:spcPts val="600"/>
              </a:spcAft>
              <a:buClr>
                <a:srgbClr val="57068C"/>
              </a:buClr>
              <a:buSzPct val="100000"/>
            </a:pPr>
            <a:endParaRPr lang="ru-RU" dirty="0">
              <a:solidFill>
                <a:srgbClr val="000000"/>
              </a:solidFill>
              <a:latin typeface="PF DinDisplay Pro" panose="02000506030000020004" pitchFamily="2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just">
              <a:spcAft>
                <a:spcPts val="600"/>
              </a:spcAft>
              <a:buClr>
                <a:srgbClr val="57068C"/>
              </a:buClr>
              <a:buSzPct val="100000"/>
            </a:pPr>
            <a:r>
              <a:rPr lang="ru-RU" dirty="0" smtClean="0">
                <a:solidFill>
                  <a:srgbClr val="000000"/>
                </a:solidFill>
                <a:latin typeface="PF DinDisplay Pro" panose="02000506030000020004" pitchFamily="2" charset="0"/>
                <a:ea typeface="Verdana" panose="020B0604030504040204" pitchFamily="34" charset="0"/>
                <a:cs typeface="Verdana" panose="020B0604030504040204" pitchFamily="34" charset="0"/>
              </a:rPr>
              <a:t>Их использование приносит пользу государству и обществу</a:t>
            </a:r>
          </a:p>
          <a:p>
            <a:pPr algn="just">
              <a:spcAft>
                <a:spcPts val="600"/>
              </a:spcAft>
              <a:buClr>
                <a:srgbClr val="57068C"/>
              </a:buClr>
              <a:buSzPct val="100000"/>
            </a:pPr>
            <a:endParaRPr lang="ru-RU" dirty="0">
              <a:solidFill>
                <a:srgbClr val="000000"/>
              </a:solidFill>
              <a:latin typeface="PF DinDisplay Pro" panose="02000506030000020004" pitchFamily="2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just">
              <a:spcAft>
                <a:spcPts val="600"/>
              </a:spcAft>
              <a:buClr>
                <a:srgbClr val="57068C"/>
              </a:buClr>
              <a:buSzPct val="100000"/>
            </a:pPr>
            <a:r>
              <a:rPr lang="ru-RU" b="1" dirty="0" smtClean="0">
                <a:solidFill>
                  <a:srgbClr val="000000"/>
                </a:solidFill>
                <a:latin typeface="PF DinDisplay Pro" panose="02000506030000020004" pitchFamily="2" charset="0"/>
                <a:ea typeface="Verdana" panose="020B0604030504040204" pitchFamily="34" charset="0"/>
                <a:cs typeface="Verdana" panose="020B0604030504040204" pitchFamily="34" charset="0"/>
              </a:rPr>
              <a:t>Государство контролирует процесс создания и использования соответствующих объектов</a:t>
            </a:r>
          </a:p>
          <a:p>
            <a:pPr algn="just">
              <a:spcAft>
                <a:spcPts val="600"/>
              </a:spcAft>
              <a:buClr>
                <a:srgbClr val="57068C"/>
              </a:buClr>
              <a:buSzPct val="100000"/>
            </a:pPr>
            <a:endParaRPr lang="ru-RU" dirty="0">
              <a:solidFill>
                <a:srgbClr val="000000"/>
              </a:solidFill>
              <a:latin typeface="PF DinDisplay Pro" panose="02000506030000020004" pitchFamily="2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just">
              <a:spcAft>
                <a:spcPts val="600"/>
              </a:spcAft>
              <a:buClr>
                <a:srgbClr val="57068C"/>
              </a:buClr>
              <a:buSzPct val="100000"/>
            </a:pPr>
            <a:endParaRPr lang="ru-RU" dirty="0">
              <a:solidFill>
                <a:srgbClr val="000000"/>
              </a:solidFill>
              <a:latin typeface="PF DinDisplay Pro" panose="02000506030000020004" pitchFamily="2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just">
              <a:spcAft>
                <a:spcPts val="600"/>
              </a:spcAft>
              <a:buClr>
                <a:srgbClr val="57068C"/>
              </a:buClr>
              <a:buSzPct val="100000"/>
            </a:pPr>
            <a:r>
              <a:rPr lang="ru-RU" dirty="0">
                <a:solidFill>
                  <a:srgbClr val="000000"/>
                </a:solidFill>
                <a:latin typeface="PF DinDisplay Pro" panose="02000506030000020004" pitchFamily="2" charset="0"/>
                <a:ea typeface="Verdana" panose="020B0604030504040204" pitchFamily="34" charset="0"/>
                <a:cs typeface="Verdana" panose="020B0604030504040204" pitchFamily="34" charset="0"/>
              </a:rPr>
              <a:t>		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1224659" y="2811938"/>
            <a:ext cx="358273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Clr>
                <a:srgbClr val="57068C"/>
              </a:buClr>
              <a:buSzPct val="100000"/>
            </a:pPr>
            <a:r>
              <a:rPr lang="ru-RU" dirty="0" smtClean="0">
                <a:solidFill>
                  <a:srgbClr val="000000"/>
                </a:solidFill>
                <a:latin typeface="PF DinDisplay Pro" panose="02000506030000020004" pitchFamily="2" charset="0"/>
                <a:ea typeface="Verdana" panose="020B0604030504040204" pitchFamily="34" charset="0"/>
                <a:cs typeface="Verdana" panose="020B0604030504040204" pitchFamily="34" charset="0"/>
              </a:rPr>
              <a:t>Субсидии из бюджета в соответствии с п. 6 ст. 78 Бюджетного кодекса РФ</a:t>
            </a:r>
            <a:endParaRPr lang="ru-RU" dirty="0">
              <a:solidFill>
                <a:srgbClr val="000000"/>
              </a:solidFill>
              <a:latin typeface="PF DinDisplay Pro" panose="02000506030000020004" pitchFamily="2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Oval 18"/>
          <p:cNvSpPr/>
          <p:nvPr/>
        </p:nvSpPr>
        <p:spPr bwMode="auto">
          <a:xfrm>
            <a:off x="774948" y="2822164"/>
            <a:ext cx="321739" cy="311703"/>
          </a:xfrm>
          <a:prstGeom prst="ellipse">
            <a:avLst/>
          </a:prstGeom>
          <a:solidFill>
            <a:srgbClr val="00985F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0" cap="flat" cmpd="sng" algn="ctr">
                <a:solidFill>
                  <a:srgbClr val="7F7F7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 smtClean="0">
                <a:solidFill>
                  <a:srgbClr val="FFFFFF"/>
                </a:solidFill>
                <a:latin typeface="PF DinDisplay Pro" panose="02000506030000020004" pitchFamily="2" charset="0"/>
              </a:rPr>
              <a:t>1</a:t>
            </a:r>
            <a:endParaRPr lang="en-US" sz="1600" b="1" dirty="0">
              <a:solidFill>
                <a:srgbClr val="FFFFFF"/>
              </a:solidFill>
              <a:latin typeface="PF DinDisplay Pro" panose="02000506030000020004" pitchFamily="2" charset="0"/>
            </a:endParaRPr>
          </a:p>
        </p:txBody>
      </p:sp>
      <p:sp>
        <p:nvSpPr>
          <p:cNvPr id="9" name="Oval 19"/>
          <p:cNvSpPr/>
          <p:nvPr/>
        </p:nvSpPr>
        <p:spPr bwMode="auto">
          <a:xfrm>
            <a:off x="5398630" y="2822164"/>
            <a:ext cx="321739" cy="311703"/>
          </a:xfrm>
          <a:prstGeom prst="ellipse">
            <a:avLst/>
          </a:prstGeom>
          <a:solidFill>
            <a:srgbClr val="00985F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0" cap="flat" cmpd="sng" algn="ctr">
                <a:solidFill>
                  <a:srgbClr val="7F7F7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dirty="0" smtClean="0">
                <a:solidFill>
                  <a:srgbClr val="FFFFFF"/>
                </a:solidFill>
                <a:latin typeface="PF DinDisplay Pro" panose="02000506030000020004" pitchFamily="2" charset="0"/>
              </a:rPr>
              <a:t>2</a:t>
            </a:r>
            <a:endParaRPr lang="en-US" sz="1600" b="1" dirty="0">
              <a:solidFill>
                <a:srgbClr val="FFFFFF"/>
              </a:solidFill>
              <a:latin typeface="PF DinDisplay Pro" panose="02000506030000020004" pitchFamily="2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5959524" y="2811938"/>
            <a:ext cx="358273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Clr>
                <a:srgbClr val="57068C"/>
              </a:buClr>
              <a:buSzPct val="100000"/>
            </a:pPr>
            <a:r>
              <a:rPr lang="ru-RU" dirty="0" smtClean="0">
                <a:solidFill>
                  <a:srgbClr val="000000"/>
                </a:solidFill>
                <a:latin typeface="PF DinDisplay Pro" panose="02000506030000020004" pitchFamily="2" charset="0"/>
                <a:ea typeface="Verdana" panose="020B0604030504040204" pitchFamily="34" charset="0"/>
                <a:cs typeface="Verdana" panose="020B0604030504040204" pitchFamily="34" charset="0"/>
              </a:rPr>
              <a:t>Установление специального платежа для пользователей</a:t>
            </a:r>
            <a:endParaRPr lang="ru-RU" dirty="0">
              <a:solidFill>
                <a:srgbClr val="000000"/>
              </a:solidFill>
              <a:latin typeface="PF DinDisplay Pro" panose="02000506030000020004" pitchFamily="2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1531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0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1&quot;&gt;&lt;elem m_fUsage=&quot;1.96669923555790693293E+00&quot;&gt;&lt;m_msothmcolidx val=&quot;0&quot;/&gt;&lt;m_rgb r=&quot;EC&quot; g=&quot;6A&quot; b=&quot;5B&quot;/&gt;&lt;m_nBrightness val=&quot;0&quot;/&gt;&lt;/elem&gt;&lt;elem m_fUsage=&quot;1.21439582910000010152E+00&quot;&gt;&lt;m_msothmcolidx val=&quot;0&quot;/&gt;&lt;m_rgb r=&quot;9A&quot; g=&quot;D4&quot; b=&quot;B9&quot;/&gt;&lt;m_nBrightness val=&quot;0&quot;/&gt;&lt;/elem&gt;&lt;elem m_fUsage=&quot;1.15741921818563064939E+00&quot;&gt;&lt;m_msothmcolidx val=&quot;0&quot;/&gt;&lt;m_rgb r=&quot;00&quot; g=&quot;98&quot; b=&quot;5F&quot;/&gt;&lt;m_nBrightness val=&quot;0&quot;/&gt;&lt;/elem&gt;&lt;elem m_fUsage=&quot;1.00000000000000000000E+00&quot;&gt;&lt;m_msothmcolidx val=&quot;0&quot;/&gt;&lt;m_rgb r=&quot;F0&quot; g=&quot;BE&quot; b=&quot;32&quot;/&gt;&lt;m_nBrightness val=&quot;0&quot;/&gt;&lt;/elem&gt;&lt;elem m_fUsage=&quot;9.00000000000000022204E-01&quot;&gt;&lt;m_msothmcolidx val=&quot;0&quot;/&gt;&lt;m_rgb r=&quot;FF&quot; g=&quot;00&quot; b=&quot;00&quot;/&gt;&lt;m_nBrightness val=&quot;0&quot;/&gt;&lt;/elem&gt;&lt;elem m_fUsage=&quot;7.32059049657050375792E-01&quot;&gt;&lt;m_msothmcolidx val=&quot;0&quot;/&gt;&lt;m_rgb r=&quot;71&quot; g=&quot;51&quot; b=&quot;A1&quot;/&gt;&lt;m_nBrightness val=&quot;0&quot;/&gt;&lt;/elem&gt;&lt;elem m_fUsage=&quot;6.56100000000000127542E-01&quot;&gt;&lt;m_msothmcolidx val=&quot;0&quot;/&gt;&lt;m_rgb r=&quot;F4&quot; g=&quot;85&quot; b=&quot;33&quot;/&gt;&lt;m_nBrightness val=&quot;0&quot;/&gt;&lt;/elem&gt;&lt;elem m_fUsage=&quot;6.41556157971141849394E-01&quot;&gt;&lt;m_msothmcolidx val=&quot;0&quot;/&gt;&lt;m_rgb r=&quot;DE&quot; g=&quot;DF&quot; b=&quot;E0&quot;/&gt;&lt;m_nBrightness val=&quot;0&quot;/&gt;&lt;/elem&gt;&lt;elem m_fUsage=&quot;4.27526500657645025516E-01&quot;&gt;&lt;m_msothmcolidx val=&quot;0&quot;/&gt;&lt;m_rgb r=&quot;E2&quot; g=&quot;DB&quot; b=&quot;ED&quot;/&gt;&lt;m_nBrightness val=&quot;0&quot;/&gt;&lt;/elem&gt;&lt;elem m_fUsage=&quot;2.85657575171521627144E-01&quot;&gt;&lt;m_msothmcolidx val=&quot;0&quot;/&gt;&lt;m_rgb r=&quot;00&quot; g=&quot;B3&quot; b=&quot;80&quot;/&gt;&lt;m_nBrightness val=&quot;0&quot;/&gt;&lt;/elem&gt;&lt;elem m_fUsage=&quot;2.80839829399237572716E-01&quot;&gt;&lt;m_msothmcolidx val=&quot;0&quot;/&gt;&lt;m_rgb r=&quot;57&quot; g=&quot;06&quot; b=&quot;8C&quot;/&gt;&lt;m_nBrightness val=&quot;0&quot;/&gt;&lt;/elem&gt;&lt;elem m_fUsage=&quot;1.66771816996665767086E-01&quot;&gt;&lt;m_msothmcolidx val=&quot;0&quot;/&gt;&lt;m_rgb r=&quot;E0&quot; g=&quot;F3&quot; b=&quot;EB&quot;/&gt;&lt;m_nBrightness val=&quot;0&quot;/&gt;&lt;/elem&gt;&lt;elem m_fUsage=&quot;1.54687973324610483772E-01&quot;&gt;&lt;m_msothmcolidx val=&quot;0&quot;/&gt;&lt;m_rgb r=&quot;64&quot; g=&quot;C2&quot; b=&quot;9B&quot;/&gt;&lt;m_nBrightness val=&quot;0&quot;/&gt;&lt;/elem&gt;&lt;elem m_fUsage=&quot;1.21576654590569363523E-01&quot;&gt;&lt;m_msothmcolidx val=&quot;0&quot;/&gt;&lt;m_rgb r=&quot;8C&quot; g=&quot;73&quot; b=&quot;B4&quot;/&gt;&lt;m_nBrightness val=&quot;0&quot;/&gt;&lt;/elem&gt;&lt;elem m_fUsage=&quot;1.19151416526680278829E-01&quot;&gt;&lt;m_msothmcolidx val=&quot;0&quot;/&gt;&lt;m_rgb r=&quot;F2&quot; g=&quot;4F&quot; b=&quot;53&quot;/&gt;&lt;m_nBrightness val=&quot;0&quot;/&gt;&lt;/elem&gt;&lt;elem m_fUsage=&quot;6.96868594516013295515E-02&quot;&gt;&lt;m_msothmcolidx val=&quot;0&quot;/&gt;&lt;m_rgb r=&quot;AB&quot; g=&quot;99&quot; b=&quot;C9&quot;/&gt;&lt;m_nBrightness val=&quot;0&quot;/&gt;&lt;/elem&gt;&lt;elem m_fUsage=&quot;3.85042937747131011617E-02&quot;&gt;&lt;m_msothmcolidx val=&quot;0&quot;/&gt;&lt;m_rgb r=&quot;F5&quot; g=&quot;CE&quot; b=&quot;56&quot;/&gt;&lt;m_nBrightness val=&quot;0&quot;/&gt;&lt;/elem&gt;&lt;elem m_fUsage=&quot;3.72658398237685831167E-02&quot;&gt;&lt;m_msothmcolidx val=&quot;0&quot;/&gt;&lt;m_rgb r=&quot;3E&quot; g=&quot;9E&quot; b=&quot;76&quot;/&gt;&lt;m_nBrightness val=&quot;0&quot;/&gt;&lt;/elem&gt;&lt;elem m_fUsage=&quot;2.50315550499324440681E-02&quot;&gt;&lt;m_msothmcolidx val=&quot;0&quot;/&gt;&lt;m_rgb r=&quot;64&quot; g=&quot;C3&quot; b=&quot;9B&quot;/&gt;&lt;m_nBrightness val=&quot;0&quot;/&gt;&lt;/elem&gt;&lt;elem m_fUsage=&quot;1.68769536021427194600E-03&quot;&gt;&lt;m_msothmcolidx val=&quot;0&quot;/&gt;&lt;m_rgb r=&quot;CF&quot; g=&quot;C5&quot; b=&quot;E0&quot;/&gt;&lt;m_nBrightness val=&quot;0&quot;/&gt;&lt;/elem&gt;&lt;elem m_fUsage=&quot;9.55004950796826544875E-04&quot;&gt;&lt;m_msothmcolidx val=&quot;0&quot;/&gt;&lt;m_rgb r=&quot;CB&quot; g=&quot;E8&quot; b=&quot;D9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mf">
  <a:themeElements>
    <a:clrScheme name="mf_like_agency">
      <a:dk1>
        <a:srgbClr val="000000"/>
      </a:dk1>
      <a:lt1>
        <a:srgbClr val="FFFFFF"/>
      </a:lt1>
      <a:dk2>
        <a:srgbClr val="616365"/>
      </a:dk2>
      <a:lt2>
        <a:srgbClr val="FFFFFF"/>
      </a:lt2>
      <a:accent1>
        <a:srgbClr val="00985F"/>
      </a:accent1>
      <a:accent2>
        <a:srgbClr val="57068C"/>
      </a:accent2>
      <a:accent3>
        <a:srgbClr val="C0C2C4"/>
      </a:accent3>
      <a:accent4>
        <a:srgbClr val="00B380"/>
      </a:accent4>
      <a:accent5>
        <a:srgbClr val="7151A1"/>
      </a:accent5>
      <a:accent6>
        <a:srgbClr val="64C29B"/>
      </a:accent6>
      <a:hlink>
        <a:srgbClr val="A6A6A6"/>
      </a:hlink>
      <a:folHlink>
        <a:srgbClr val="A6A6A6"/>
      </a:folHlink>
    </a:clrScheme>
    <a:fontScheme name="Другая 1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85F"/>
        </a:solidFill>
        <a:ln w="0" cap="flat" cmpd="sng" algn="ctr">
          <a:noFill/>
          <a:prstDash val="solid"/>
          <a:round/>
          <a:headEnd type="none" w="med" len="med"/>
          <a:tailEnd type="none" w="med" len="med"/>
        </a:ln>
        <a:effectLst/>
        <a:extLst>
          <a:ext uri="{91240B29-F687-4F45-9708-019B960494DF}">
            <a14:hiddenLine xmlns:a14="http://schemas.microsoft.com/office/drawing/2010/main" w="0" cap="flat" cmpd="sng" algn="ctr">
              <a:solidFill>
                <a:srgbClr val="7F7F7F"/>
              </a:solidFill>
              <a:prstDash val="solid"/>
              <a:round/>
              <a:headEnd type="none" w="med" len="med"/>
              <a:tailEnd type="none" w="med" len="med"/>
            </a14:hiddenLine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rgbClr val="7F7F7F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 anchor="t">
        <a:spAutoFit/>
      </a:bodyPr>
      <a:lstStyle>
        <a:defPPr>
          <a:buClr>
            <a:srgbClr val="57068C"/>
          </a:buClr>
          <a:buSzPct val="100000"/>
          <a:defRPr sz="1200" dirty="0" err="1" smtClean="0">
            <a:solidFill>
              <a:srgbClr val="000000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defRPr>
        </a:defPPr>
      </a:lstStyle>
    </a:txDef>
  </a:objectDefaults>
  <a:extraClrSchemeLst>
    <a:extraClrScheme>
      <a:clrScheme name="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mf" id="{506B17B6-ECE5-463F-8CCD-0E4E7DD4B36E}" vid="{C70FE371-A886-4F7A-9013-FA6C61717874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f</Template>
  <TotalTime>50680</TotalTime>
  <Words>135</Words>
  <Application>Microsoft Office PowerPoint</Application>
  <PresentationFormat>Произвольный</PresentationFormat>
  <Paragraphs>35</Paragraphs>
  <Slides>2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4" baseType="lpstr">
      <vt:lpstr>1_mf</vt:lpstr>
      <vt:lpstr>think-cell Slide</vt:lpstr>
      <vt:lpstr>374-ФЗ: роль операторов</vt:lpstr>
      <vt:lpstr>Модели финансирования в рамках концессионных соглашений</vt:lpstr>
    </vt:vector>
  </TitlesOfParts>
  <Company>ОАО "МегаФон"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Svetlana Bashlyk (HQ)</dc:creator>
  <cp:lastModifiedBy>Судьин Вячеслав Юрьевич</cp:lastModifiedBy>
  <cp:revision>767</cp:revision>
  <cp:lastPrinted>2017-07-12T15:10:33Z</cp:lastPrinted>
  <dcterms:created xsi:type="dcterms:W3CDTF">2015-05-18T08:18:23Z</dcterms:created>
  <dcterms:modified xsi:type="dcterms:W3CDTF">2017-07-13T07:35:53Z</dcterms:modified>
</cp:coreProperties>
</file>